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changesInfos/changesInfo1.xml" ContentType="application/vnd.ms-powerpoint.changesinfo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648" r:id="rId4"/>
  </p:sldMasterIdLst>
  <p:notesMasterIdLst>
    <p:notesMasterId r:id="rId18"/>
  </p:notesMasterIdLst>
  <p:sldIdLst>
    <p:sldId id="585" r:id="rId5"/>
    <p:sldId id="1703" r:id="rId6"/>
    <p:sldId id="1706" r:id="rId7"/>
    <p:sldId id="1704" r:id="rId8"/>
    <p:sldId id="1702" r:id="rId9"/>
    <p:sldId id="1707" r:id="rId10"/>
    <p:sldId id="1695" r:id="rId11"/>
    <p:sldId id="1698" r:id="rId12"/>
    <p:sldId id="1699" r:id="rId13"/>
    <p:sldId id="1700" r:id="rId14"/>
    <p:sldId id="1701" r:id="rId15"/>
    <p:sldId id="592" r:id="rId16"/>
    <p:sldId id="1705" r:id="rId17"/>
  </p:sldIdLst>
  <p:sldSz cx="12192000" cy="6858000"/>
  <p:notesSz cx="6797675" cy="9872663"/>
  <p:custDataLst>
    <p:tags r:id="rId19"/>
  </p:custDataLst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ernilla Hage Döse" initials="PHD" lastIdx="1" clrIdx="0">
    <p:extLst>
      <p:ext uri="{19B8F6BF-5375-455C-9EA6-DF929625EA0E}">
        <p15:presenceInfo xmlns:p15="http://schemas.microsoft.com/office/powerpoint/2012/main" userId="S::pernilla.hagedoese@gorenje.com::3c78fdbc-4c12-440f-9926-b96df74a963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ECC68"/>
    <a:srgbClr val="D0CEC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A1BF0F9-516D-485C-B545-2E5D1C64583E}" v="6" dt="2022-05-31T12:41:10.50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5340" autoAdjust="0"/>
    <p:restoredTop sz="84465" autoAdjust="0"/>
  </p:normalViewPr>
  <p:slideViewPr>
    <p:cSldViewPr snapToGrid="0">
      <p:cViewPr varScale="1">
        <p:scale>
          <a:sx n="72" d="100"/>
          <a:sy n="72" d="100"/>
        </p:scale>
        <p:origin x="43" y="5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tags" Target="tags/tag1.xml"/><Relationship Id="rId31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viewProps" Target="viewProps.xml"/><Relationship Id="rId30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rian Oliveiro" userId="75510c52-fa23-4344-b9a3-efe3db0d47d7" providerId="ADAL" clId="{5A1BF0F9-516D-485C-B545-2E5D1C64583E}"/>
    <pc:docChg chg="undo custSel addSld modSld sldOrd">
      <pc:chgData name="Brian Oliveiro" userId="75510c52-fa23-4344-b9a3-efe3db0d47d7" providerId="ADAL" clId="{5A1BF0F9-516D-485C-B545-2E5D1C64583E}" dt="2022-05-31T12:42:33.447" v="82" actId="1076"/>
      <pc:docMkLst>
        <pc:docMk/>
      </pc:docMkLst>
      <pc:sldChg chg="addSp delSp modSp mod">
        <pc:chgData name="Brian Oliveiro" userId="75510c52-fa23-4344-b9a3-efe3db0d47d7" providerId="ADAL" clId="{5A1BF0F9-516D-485C-B545-2E5D1C64583E}" dt="2022-05-31T12:40:09.510" v="30" actId="167"/>
        <pc:sldMkLst>
          <pc:docMk/>
          <pc:sldMk cId="4039615199" sldId="258"/>
        </pc:sldMkLst>
        <pc:spChg chg="mod">
          <ac:chgData name="Brian Oliveiro" userId="75510c52-fa23-4344-b9a3-efe3db0d47d7" providerId="ADAL" clId="{5A1BF0F9-516D-485C-B545-2E5D1C64583E}" dt="2022-05-31T12:39:22.096" v="12" actId="20577"/>
          <ac:spMkLst>
            <pc:docMk/>
            <pc:sldMk cId="4039615199" sldId="258"/>
            <ac:spMk id="42" creationId="{B4B9ECD9-86BD-3353-0F0C-D7DDAAA1723D}"/>
          </ac:spMkLst>
        </pc:spChg>
        <pc:spChg chg="mod">
          <ac:chgData name="Brian Oliveiro" userId="75510c52-fa23-4344-b9a3-efe3db0d47d7" providerId="ADAL" clId="{5A1BF0F9-516D-485C-B545-2E5D1C64583E}" dt="2022-05-31T12:39:25.911" v="16" actId="20577"/>
          <ac:spMkLst>
            <pc:docMk/>
            <pc:sldMk cId="4039615199" sldId="258"/>
            <ac:spMk id="43" creationId="{270A052A-306D-6AB8-A484-165B9C96C623}"/>
          </ac:spMkLst>
        </pc:spChg>
        <pc:spChg chg="mod">
          <ac:chgData name="Brian Oliveiro" userId="75510c52-fa23-4344-b9a3-efe3db0d47d7" providerId="ADAL" clId="{5A1BF0F9-516D-485C-B545-2E5D1C64583E}" dt="2022-05-31T12:39:37.751" v="24" actId="20577"/>
          <ac:spMkLst>
            <pc:docMk/>
            <pc:sldMk cId="4039615199" sldId="258"/>
            <ac:spMk id="46" creationId="{EA5F3DE5-5EFB-6712-0450-875CA9AE78C4}"/>
          </ac:spMkLst>
        </pc:spChg>
        <pc:spChg chg="mod">
          <ac:chgData name="Brian Oliveiro" userId="75510c52-fa23-4344-b9a3-efe3db0d47d7" providerId="ADAL" clId="{5A1BF0F9-516D-485C-B545-2E5D1C64583E}" dt="2022-05-31T12:39:33.857" v="20" actId="20577"/>
          <ac:spMkLst>
            <pc:docMk/>
            <pc:sldMk cId="4039615199" sldId="258"/>
            <ac:spMk id="47" creationId="{4769C506-997D-B38D-9EA3-4A2BEAEC1D46}"/>
          </ac:spMkLst>
        </pc:spChg>
        <pc:picChg chg="add del mod">
          <ac:chgData name="Brian Oliveiro" userId="75510c52-fa23-4344-b9a3-efe3db0d47d7" providerId="ADAL" clId="{5A1BF0F9-516D-485C-B545-2E5D1C64583E}" dt="2022-05-31T12:37:27.381" v="5"/>
          <ac:picMkLst>
            <pc:docMk/>
            <pc:sldMk cId="4039615199" sldId="258"/>
            <ac:picMk id="25" creationId="{8367FFEA-B855-7C15-7286-8AA08A87BE70}"/>
          </ac:picMkLst>
        </pc:picChg>
        <pc:picChg chg="add mod ord">
          <ac:chgData name="Brian Oliveiro" userId="75510c52-fa23-4344-b9a3-efe3db0d47d7" providerId="ADAL" clId="{5A1BF0F9-516D-485C-B545-2E5D1C64583E}" dt="2022-05-31T12:40:09.510" v="30" actId="167"/>
          <ac:picMkLst>
            <pc:docMk/>
            <pc:sldMk cId="4039615199" sldId="258"/>
            <ac:picMk id="26" creationId="{428DAEAA-08BC-8B7D-7E2F-47C45B6EAC14}"/>
          </ac:picMkLst>
        </pc:picChg>
        <pc:picChg chg="add mod ord">
          <ac:chgData name="Brian Oliveiro" userId="75510c52-fa23-4344-b9a3-efe3db0d47d7" providerId="ADAL" clId="{5A1BF0F9-516D-485C-B545-2E5D1C64583E}" dt="2022-05-31T12:40:05.055" v="29" actId="167"/>
          <ac:picMkLst>
            <pc:docMk/>
            <pc:sldMk cId="4039615199" sldId="258"/>
            <ac:picMk id="27" creationId="{CE8C7AB8-5407-B2B6-117A-9E681C2AD186}"/>
          </ac:picMkLst>
        </pc:picChg>
        <pc:picChg chg="del">
          <ac:chgData name="Brian Oliveiro" userId="75510c52-fa23-4344-b9a3-efe3db0d47d7" providerId="ADAL" clId="{5A1BF0F9-516D-485C-B545-2E5D1C64583E}" dt="2022-05-31T12:39:05.183" v="6" actId="478"/>
          <ac:picMkLst>
            <pc:docMk/>
            <pc:sldMk cId="4039615199" sldId="258"/>
            <ac:picMk id="48" creationId="{BCE4241C-7A99-2268-EF4F-999DCB43D4BA}"/>
          </ac:picMkLst>
        </pc:picChg>
        <pc:picChg chg="del">
          <ac:chgData name="Brian Oliveiro" userId="75510c52-fa23-4344-b9a3-efe3db0d47d7" providerId="ADAL" clId="{5A1BF0F9-516D-485C-B545-2E5D1C64583E}" dt="2022-05-31T12:39:45.229" v="26" actId="478"/>
          <ac:picMkLst>
            <pc:docMk/>
            <pc:sldMk cId="4039615199" sldId="258"/>
            <ac:picMk id="50" creationId="{C8D2BB7E-5E16-73D5-892E-7B861509D8F9}"/>
          </ac:picMkLst>
        </pc:picChg>
      </pc:sldChg>
      <pc:sldChg chg="delSp modSp mod">
        <pc:chgData name="Brian Oliveiro" userId="75510c52-fa23-4344-b9a3-efe3db0d47d7" providerId="ADAL" clId="{5A1BF0F9-516D-485C-B545-2E5D1C64583E}" dt="2022-05-31T12:42:33.447" v="82" actId="1076"/>
        <pc:sldMkLst>
          <pc:docMk/>
          <pc:sldMk cId="3081286726" sldId="1681"/>
        </pc:sldMkLst>
        <pc:spChg chg="del">
          <ac:chgData name="Brian Oliveiro" userId="75510c52-fa23-4344-b9a3-efe3db0d47d7" providerId="ADAL" clId="{5A1BF0F9-516D-485C-B545-2E5D1C64583E}" dt="2022-05-31T12:41:48.859" v="69" actId="478"/>
          <ac:spMkLst>
            <pc:docMk/>
            <pc:sldMk cId="3081286726" sldId="1681"/>
            <ac:spMk id="6" creationId="{5430BC1A-E181-476A-87A3-3279F8940321}"/>
          </ac:spMkLst>
        </pc:spChg>
        <pc:spChg chg="mod">
          <ac:chgData name="Brian Oliveiro" userId="75510c52-fa23-4344-b9a3-efe3db0d47d7" providerId="ADAL" clId="{5A1BF0F9-516D-485C-B545-2E5D1C64583E}" dt="2022-05-31T12:42:33.447" v="82" actId="1076"/>
          <ac:spMkLst>
            <pc:docMk/>
            <pc:sldMk cId="3081286726" sldId="1681"/>
            <ac:spMk id="8" creationId="{4FBCEF23-1257-605E-7A4F-485A43CE3ABA}"/>
          </ac:spMkLst>
        </pc:spChg>
        <pc:spChg chg="del">
          <ac:chgData name="Brian Oliveiro" userId="75510c52-fa23-4344-b9a3-efe3db0d47d7" providerId="ADAL" clId="{5A1BF0F9-516D-485C-B545-2E5D1C64583E}" dt="2022-05-31T12:42:14.763" v="77" actId="478"/>
          <ac:spMkLst>
            <pc:docMk/>
            <pc:sldMk cId="3081286726" sldId="1681"/>
            <ac:spMk id="12" creationId="{AA6ED181-D6D9-4BD4-81AB-3AAAC60689E0}"/>
          </ac:spMkLst>
        </pc:spChg>
        <pc:picChg chg="mod">
          <ac:chgData name="Brian Oliveiro" userId="75510c52-fa23-4344-b9a3-efe3db0d47d7" providerId="ADAL" clId="{5A1BF0F9-516D-485C-B545-2E5D1C64583E}" dt="2022-05-31T12:42:23.379" v="80" actId="1076"/>
          <ac:picMkLst>
            <pc:docMk/>
            <pc:sldMk cId="3081286726" sldId="1681"/>
            <ac:picMk id="3" creationId="{3B8A3C9B-4DEB-BF5E-8F68-F7425F548703}"/>
          </ac:picMkLst>
        </pc:picChg>
        <pc:picChg chg="mod">
          <ac:chgData name="Brian Oliveiro" userId="75510c52-fa23-4344-b9a3-efe3db0d47d7" providerId="ADAL" clId="{5A1BF0F9-516D-485C-B545-2E5D1C64583E}" dt="2022-05-31T12:42:28.017" v="81" actId="1076"/>
          <ac:picMkLst>
            <pc:docMk/>
            <pc:sldMk cId="3081286726" sldId="1681"/>
            <ac:picMk id="5" creationId="{EC203B64-800A-4DF1-87BA-9B86A00CE4F8}"/>
          </ac:picMkLst>
        </pc:picChg>
        <pc:cxnChg chg="del">
          <ac:chgData name="Brian Oliveiro" userId="75510c52-fa23-4344-b9a3-efe3db0d47d7" providerId="ADAL" clId="{5A1BF0F9-516D-485C-B545-2E5D1C64583E}" dt="2022-05-31T12:41:51.270" v="70" actId="478"/>
          <ac:cxnSpMkLst>
            <pc:docMk/>
            <pc:sldMk cId="3081286726" sldId="1681"/>
            <ac:cxnSpMk id="7" creationId="{CFA6325B-25F2-40EA-A263-6B3E4A2E0668}"/>
          </ac:cxnSpMkLst>
        </pc:cxnChg>
      </pc:sldChg>
      <pc:sldChg chg="addSp delSp modSp add mod ord">
        <pc:chgData name="Brian Oliveiro" userId="75510c52-fa23-4344-b9a3-efe3db0d47d7" providerId="ADAL" clId="{5A1BF0F9-516D-485C-B545-2E5D1C64583E}" dt="2022-05-31T12:41:41.925" v="68"/>
        <pc:sldMkLst>
          <pc:docMk/>
          <pc:sldMk cId="3285400302" sldId="1682"/>
        </pc:sldMkLst>
        <pc:spChg chg="mod">
          <ac:chgData name="Brian Oliveiro" userId="75510c52-fa23-4344-b9a3-efe3db0d47d7" providerId="ADAL" clId="{5A1BF0F9-516D-485C-B545-2E5D1C64583E}" dt="2022-05-31T12:41:34.010" v="66" actId="20577"/>
          <ac:spMkLst>
            <pc:docMk/>
            <pc:sldMk cId="3285400302" sldId="1682"/>
            <ac:spMk id="8" creationId="{4FBCEF23-1257-605E-7A4F-485A43CE3ABA}"/>
          </ac:spMkLst>
        </pc:spChg>
        <pc:picChg chg="del">
          <ac:chgData name="Brian Oliveiro" userId="75510c52-fa23-4344-b9a3-efe3db0d47d7" providerId="ADAL" clId="{5A1BF0F9-516D-485C-B545-2E5D1C64583E}" dt="2022-05-31T12:40:44.366" v="32" actId="478"/>
          <ac:picMkLst>
            <pc:docMk/>
            <pc:sldMk cId="3285400302" sldId="1682"/>
            <ac:picMk id="3" creationId="{3B8A3C9B-4DEB-BF5E-8F68-F7425F548703}"/>
          </ac:picMkLst>
        </pc:picChg>
        <pc:picChg chg="add mod">
          <ac:chgData name="Brian Oliveiro" userId="75510c52-fa23-4344-b9a3-efe3db0d47d7" providerId="ADAL" clId="{5A1BF0F9-516D-485C-B545-2E5D1C64583E}" dt="2022-05-31T12:41:21.352" v="41" actId="1035"/>
          <ac:picMkLst>
            <pc:docMk/>
            <pc:sldMk cId="3285400302" sldId="1682"/>
            <ac:picMk id="4" creationId="{25A0CFE9-342C-180F-570E-E8DB9F75B2C2}"/>
          </ac:picMkLst>
        </pc:picChg>
        <pc:picChg chg="del">
          <ac:chgData name="Brian Oliveiro" userId="75510c52-fa23-4344-b9a3-efe3db0d47d7" providerId="ADAL" clId="{5A1BF0F9-516D-485C-B545-2E5D1C64583E}" dt="2022-05-31T12:40:44.366" v="32" actId="478"/>
          <ac:picMkLst>
            <pc:docMk/>
            <pc:sldMk cId="3285400302" sldId="1682"/>
            <ac:picMk id="5" creationId="{EC203B64-800A-4DF1-87BA-9B86A00CE4F8}"/>
          </ac:picMkLst>
        </pc:pic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534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534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BDD2AC9-2D89-460A-9110-43A18E9F44F6}" type="datetimeFigureOut">
              <a:rPr lang="sv-SE" smtClean="0"/>
              <a:t>2023-06-29</a:t>
            </a:fld>
            <a:endParaRPr lang="sv-S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38150" y="1235075"/>
            <a:ext cx="5921375" cy="3330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51219"/>
            <a:ext cx="5438140" cy="388736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7318"/>
            <a:ext cx="2945659" cy="49534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7318"/>
            <a:ext cx="2945659" cy="49534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BCACFE5-2A10-4D20-A844-E1EE5E89C335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8440775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25BFBE9-9CC2-4C82-AD79-EDD29523ADD4}" type="slidenum">
              <a:rPr lang="nl-NL" smtClean="0"/>
              <a:t>2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92564001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BCACFE5-2A10-4D20-A844-E1EE5E89C335}" type="slidenum">
              <a:rPr lang="sv-SE" smtClean="0"/>
              <a:t>12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1337469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61BBA6-1B1E-4FE8-AD96-8242D46C04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4765" y="532584"/>
            <a:ext cx="10990216" cy="1217840"/>
          </a:xfrm>
        </p:spPr>
        <p:txBody>
          <a:bodyPr anchor="b">
            <a:normAutofit/>
          </a:bodyPr>
          <a:lstStyle>
            <a:lvl1pPr>
              <a:defRPr sz="3400"/>
            </a:lvl1pPr>
          </a:lstStyle>
          <a:p>
            <a:r>
              <a:rPr lang="en-US"/>
              <a:t>Click to edit Master title style</a:t>
            </a:r>
            <a:endParaRPr lang="sv-S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F1E2AF3-8E17-4AF4-B380-59B31F4DD0B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74763" y="1750423"/>
            <a:ext cx="10990215" cy="727211"/>
          </a:xfr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A3EE6A5-D683-4D77-968F-05E0976FEA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91D11F-2023-4142-8FF6-FF3F62452633}" type="datetimeFigureOut">
              <a:rPr lang="sv-SE" smtClean="0"/>
              <a:t>2023-06-29</a:t>
            </a:fld>
            <a:endParaRPr lang="sv-S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86B4B3A-CAC7-49D5-85EC-76BD719D01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DD15289-FB5B-4D71-AA4B-426D05F612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367BF0-74F3-490C-B581-60C71F59DF47}" type="slidenum">
              <a:rPr lang="sv-SE" smtClean="0"/>
              <a:t>‹#›</a:t>
            </a:fld>
            <a:endParaRPr lang="sv-SE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74A9F5D-D455-4AB4-BB79-918D1EF7FB8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033865" y="532583"/>
            <a:ext cx="1531112" cy="514814"/>
          </a:xfrm>
          <a:prstGeom prst="rect">
            <a:avLst/>
          </a:prstGeom>
        </p:spPr>
      </p:pic>
      <p:pic>
        <p:nvPicPr>
          <p:cNvPr id="10" name="Picture 9" descr="A body of water&#10;&#10;Description automatically generated">
            <a:extLst>
              <a:ext uri="{FF2B5EF4-FFF2-40B4-BE49-F238E27FC236}">
                <a16:creationId xmlns:a16="http://schemas.microsoft.com/office/drawing/2014/main" id="{8EBFBB0F-B511-4E59-8860-DAA030B88B5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74752" y="2621278"/>
            <a:ext cx="10990214" cy="37041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638182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B07161-2F7B-4BD3-861F-CF1FF1DBFA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4766" y="457201"/>
            <a:ext cx="4197260" cy="1188719"/>
          </a:xfrm>
        </p:spPr>
        <p:txBody>
          <a:bodyPr anchor="b">
            <a:normAutofit/>
          </a:bodyPr>
          <a:lstStyle>
            <a:lvl1pPr>
              <a:defRPr sz="3400"/>
            </a:lvl1pPr>
          </a:lstStyle>
          <a:p>
            <a:r>
              <a:rPr lang="en-US"/>
              <a:t>Click to edit Master title style</a:t>
            </a:r>
            <a:endParaRPr lang="sv-S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DC52810-4165-4A09-8C94-79DDD4F3FB2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378116" y="1855179"/>
            <a:ext cx="6186866" cy="4005871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17F5C70-5211-4D60-B016-7FD2AE1F099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74766" y="1863117"/>
            <a:ext cx="4197260" cy="4005871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6162D12-402E-4062-8DC5-AA8C59576D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91D11F-2023-4142-8FF6-FF3F62452633}" type="datetimeFigureOut">
              <a:rPr lang="sv-SE" smtClean="0"/>
              <a:t>2023-06-29</a:t>
            </a:fld>
            <a:endParaRPr lang="sv-S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3C2F283-5E75-4078-9C69-4AAB3967A8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A296CE0-9FCC-439E-959A-30B2A8738C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367BF0-74F3-490C-B581-60C71F59DF47}" type="slidenum">
              <a:rPr lang="sv-SE" smtClean="0"/>
              <a:t>‹#›</a:t>
            </a:fld>
            <a:endParaRPr lang="sv-SE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DA5587BB-462C-4FFC-A149-B3CE8B3D1256}"/>
              </a:ext>
            </a:extLst>
          </p:cNvPr>
          <p:cNvSpPr>
            <a:spLocks noGrp="1"/>
          </p:cNvSpPr>
          <p:nvPr>
            <p:ph type="body" sz="half" idx="13"/>
          </p:nvPr>
        </p:nvSpPr>
        <p:spPr>
          <a:xfrm>
            <a:off x="5378115" y="5877878"/>
            <a:ext cx="6186866" cy="435247"/>
          </a:xfrm>
        </p:spPr>
        <p:txBody>
          <a:bodyPr>
            <a:normAutofit/>
          </a:bodyPr>
          <a:lstStyle>
            <a:lvl1pPr marL="0" indent="0" algn="r">
              <a:buNone/>
              <a:defRPr sz="105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4928459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4DCA90-BF5E-49C3-A325-C0DD4A2769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4766" y="457200"/>
            <a:ext cx="9675223" cy="1188720"/>
          </a:xfrm>
        </p:spPr>
        <p:txBody>
          <a:bodyPr anchor="b">
            <a:normAutofit/>
          </a:bodyPr>
          <a:lstStyle>
            <a:lvl1pPr>
              <a:defRPr sz="3400"/>
            </a:lvl1pPr>
          </a:lstStyle>
          <a:p>
            <a:r>
              <a:rPr lang="en-US"/>
              <a:t>Click to edit Master title style</a:t>
            </a:r>
            <a:endParaRPr lang="sv-SE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AE8E567-C25D-4DFD-AFA2-04161DEC39E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6382336" y="1855180"/>
            <a:ext cx="5182645" cy="400587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sv-SE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BD8AE3B-8B4C-4C97-B6E6-A4DABF8F054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74766" y="1863118"/>
            <a:ext cx="5182645" cy="4005870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54792B5-8189-4693-BAAF-C4A675E63E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91D11F-2023-4142-8FF6-FF3F62452633}" type="datetimeFigureOut">
              <a:rPr lang="sv-SE" smtClean="0"/>
              <a:t>2023-06-29</a:t>
            </a:fld>
            <a:endParaRPr lang="sv-S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D94115F-40BC-4BDD-8111-C2BD1E2F0C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E768846-3D41-4B8D-B8F1-F6E2CC21E3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367BF0-74F3-490C-B581-60C71F59DF47}" type="slidenum">
              <a:rPr lang="sv-SE" smtClean="0"/>
              <a:t>‹#›</a:t>
            </a:fld>
            <a:endParaRPr lang="sv-SE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A5B65E6B-CE4B-494C-9533-004EC7208FD4}"/>
              </a:ext>
            </a:extLst>
          </p:cNvPr>
          <p:cNvSpPr>
            <a:spLocks noGrp="1"/>
          </p:cNvSpPr>
          <p:nvPr>
            <p:ph type="body" sz="half" idx="13"/>
          </p:nvPr>
        </p:nvSpPr>
        <p:spPr>
          <a:xfrm>
            <a:off x="6382337" y="5877878"/>
            <a:ext cx="5182644" cy="435247"/>
          </a:xfrm>
        </p:spPr>
        <p:txBody>
          <a:bodyPr>
            <a:normAutofit/>
          </a:bodyPr>
          <a:lstStyle>
            <a:lvl1pPr marL="0" indent="0">
              <a:buNone/>
              <a:defRPr sz="105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1452331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4DCA90-BF5E-49C3-A325-C0DD4A2769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4766" y="457200"/>
            <a:ext cx="9675223" cy="1188720"/>
          </a:xfrm>
        </p:spPr>
        <p:txBody>
          <a:bodyPr anchor="b">
            <a:normAutofit/>
          </a:bodyPr>
          <a:lstStyle>
            <a:lvl1pPr>
              <a:defRPr sz="3400"/>
            </a:lvl1pPr>
          </a:lstStyle>
          <a:p>
            <a:r>
              <a:rPr lang="en-US"/>
              <a:t>Click to edit Master title style</a:t>
            </a:r>
            <a:endParaRPr lang="sv-SE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AE8E567-C25D-4DFD-AFA2-04161DEC39E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6382335" y="1864588"/>
            <a:ext cx="5182645" cy="192600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sv-SE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BD8AE3B-8B4C-4C97-B6E6-A4DABF8F054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74767" y="1863118"/>
            <a:ext cx="5182646" cy="4005870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54792B5-8189-4693-BAAF-C4A675E63E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91D11F-2023-4142-8FF6-FF3F62452633}" type="datetimeFigureOut">
              <a:rPr lang="sv-SE" smtClean="0"/>
              <a:t>2023-06-29</a:t>
            </a:fld>
            <a:endParaRPr lang="sv-S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D94115F-40BC-4BDD-8111-C2BD1E2F0C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E768846-3D41-4B8D-B8F1-F6E2CC21E3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367BF0-74F3-490C-B581-60C71F59DF47}" type="slidenum">
              <a:rPr lang="sv-SE" smtClean="0"/>
              <a:t>‹#›</a:t>
            </a:fld>
            <a:endParaRPr lang="sv-SE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A5B65E6B-CE4B-494C-9533-004EC7208FD4}"/>
              </a:ext>
            </a:extLst>
          </p:cNvPr>
          <p:cNvSpPr>
            <a:spLocks noGrp="1"/>
          </p:cNvSpPr>
          <p:nvPr>
            <p:ph type="body" sz="half" idx="13"/>
          </p:nvPr>
        </p:nvSpPr>
        <p:spPr>
          <a:xfrm>
            <a:off x="6382336" y="5877107"/>
            <a:ext cx="5182644" cy="435247"/>
          </a:xfrm>
        </p:spPr>
        <p:txBody>
          <a:bodyPr>
            <a:normAutofit/>
          </a:bodyPr>
          <a:lstStyle>
            <a:lvl1pPr marL="0" indent="0">
              <a:buNone/>
              <a:defRPr sz="105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6A6A5648-0AA8-434D-BC0D-B2CE83EF011F}"/>
              </a:ext>
            </a:extLst>
          </p:cNvPr>
          <p:cNvSpPr>
            <a:spLocks noGrp="1"/>
          </p:cNvSpPr>
          <p:nvPr>
            <p:ph type="pic" idx="14"/>
          </p:nvPr>
        </p:nvSpPr>
        <p:spPr>
          <a:xfrm>
            <a:off x="6382335" y="3942988"/>
            <a:ext cx="5182645" cy="192600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33118911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4DCA90-BF5E-49C3-A325-C0DD4A2769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4766" y="457200"/>
            <a:ext cx="9675223" cy="1188720"/>
          </a:xfrm>
        </p:spPr>
        <p:txBody>
          <a:bodyPr anchor="b">
            <a:normAutofit/>
          </a:bodyPr>
          <a:lstStyle>
            <a:lvl1pPr>
              <a:defRPr sz="3400"/>
            </a:lvl1pPr>
          </a:lstStyle>
          <a:p>
            <a:r>
              <a:rPr lang="en-US"/>
              <a:t>Click to edit Master title style</a:t>
            </a:r>
            <a:endParaRPr lang="sv-SE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AE8E567-C25D-4DFD-AFA2-04161DEC39E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6382337" y="1855179"/>
            <a:ext cx="2512800" cy="400587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sv-SE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BD8AE3B-8B4C-4C97-B6E6-A4DABF8F054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74767" y="1863118"/>
            <a:ext cx="5161800" cy="4005870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54792B5-8189-4693-BAAF-C4A675E63E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91D11F-2023-4142-8FF6-FF3F62452633}" type="datetimeFigureOut">
              <a:rPr lang="sv-SE" smtClean="0"/>
              <a:t>2023-06-29</a:t>
            </a:fld>
            <a:endParaRPr lang="sv-S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D94115F-40BC-4BDD-8111-C2BD1E2F0C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E768846-3D41-4B8D-B8F1-F6E2CC21E3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367BF0-74F3-490C-B581-60C71F59DF47}" type="slidenum">
              <a:rPr lang="sv-SE" smtClean="0"/>
              <a:t>‹#›</a:t>
            </a:fld>
            <a:endParaRPr lang="sv-SE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A5B65E6B-CE4B-494C-9533-004EC7208FD4}"/>
              </a:ext>
            </a:extLst>
          </p:cNvPr>
          <p:cNvSpPr>
            <a:spLocks noGrp="1"/>
          </p:cNvSpPr>
          <p:nvPr>
            <p:ph type="body" sz="half" idx="13"/>
          </p:nvPr>
        </p:nvSpPr>
        <p:spPr>
          <a:xfrm>
            <a:off x="6382338" y="5877060"/>
            <a:ext cx="2512799" cy="435247"/>
          </a:xfrm>
        </p:spPr>
        <p:txBody>
          <a:bodyPr>
            <a:normAutofit/>
          </a:bodyPr>
          <a:lstStyle>
            <a:lvl1pPr marL="0" indent="0">
              <a:buNone/>
              <a:defRPr sz="105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6A6A5648-0AA8-434D-BC0D-B2CE83EF011F}"/>
              </a:ext>
            </a:extLst>
          </p:cNvPr>
          <p:cNvSpPr>
            <a:spLocks noGrp="1"/>
          </p:cNvSpPr>
          <p:nvPr>
            <p:ph type="pic" idx="14"/>
          </p:nvPr>
        </p:nvSpPr>
        <p:spPr>
          <a:xfrm>
            <a:off x="9052182" y="1863118"/>
            <a:ext cx="2512800" cy="400587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sv-SE" dirty="0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C02844DE-08EF-4583-8F43-C779AF6C2FA6}"/>
              </a:ext>
            </a:extLst>
          </p:cNvPr>
          <p:cNvSpPr>
            <a:spLocks noGrp="1"/>
          </p:cNvSpPr>
          <p:nvPr>
            <p:ph type="body" sz="half" idx="15"/>
          </p:nvPr>
        </p:nvSpPr>
        <p:spPr>
          <a:xfrm>
            <a:off x="9052182" y="5877060"/>
            <a:ext cx="2512799" cy="435247"/>
          </a:xfrm>
        </p:spPr>
        <p:txBody>
          <a:bodyPr>
            <a:normAutofit/>
          </a:bodyPr>
          <a:lstStyle>
            <a:lvl1pPr marL="0" indent="0">
              <a:buNone/>
              <a:defRPr sz="105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4758265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4DCA90-BF5E-49C3-A325-C0DD4A2769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4766" y="457200"/>
            <a:ext cx="9675223" cy="1188720"/>
          </a:xfrm>
        </p:spPr>
        <p:txBody>
          <a:bodyPr anchor="b">
            <a:normAutofit/>
          </a:bodyPr>
          <a:lstStyle>
            <a:lvl1pPr>
              <a:defRPr sz="3400"/>
            </a:lvl1pPr>
          </a:lstStyle>
          <a:p>
            <a:r>
              <a:rPr lang="en-US"/>
              <a:t>Click to edit Master title style</a:t>
            </a:r>
            <a:endParaRPr lang="sv-SE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AE8E567-C25D-4DFD-AFA2-04161DEC39E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6382337" y="1855180"/>
            <a:ext cx="2512800" cy="192600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sv-SE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BD8AE3B-8B4C-4C97-B6E6-A4DABF8F054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74767" y="1863118"/>
            <a:ext cx="5161800" cy="4005870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54792B5-8189-4693-BAAF-C4A675E63E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91D11F-2023-4142-8FF6-FF3F62452633}" type="datetimeFigureOut">
              <a:rPr lang="sv-SE" smtClean="0"/>
              <a:t>2023-06-29</a:t>
            </a:fld>
            <a:endParaRPr lang="sv-S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D94115F-40BC-4BDD-8111-C2BD1E2F0C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E768846-3D41-4B8D-B8F1-F6E2CC21E3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367BF0-74F3-490C-B581-60C71F59DF47}" type="slidenum">
              <a:rPr lang="sv-SE" smtClean="0"/>
              <a:t>‹#›</a:t>
            </a:fld>
            <a:endParaRPr lang="sv-SE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A5B65E6B-CE4B-494C-9533-004EC7208FD4}"/>
              </a:ext>
            </a:extLst>
          </p:cNvPr>
          <p:cNvSpPr>
            <a:spLocks noGrp="1"/>
          </p:cNvSpPr>
          <p:nvPr>
            <p:ph type="body" sz="half" idx="13"/>
          </p:nvPr>
        </p:nvSpPr>
        <p:spPr>
          <a:xfrm>
            <a:off x="6382337" y="5876926"/>
            <a:ext cx="2512800" cy="435247"/>
          </a:xfrm>
        </p:spPr>
        <p:txBody>
          <a:bodyPr>
            <a:normAutofit/>
          </a:bodyPr>
          <a:lstStyle>
            <a:lvl1pPr marL="0" indent="0">
              <a:buNone/>
              <a:defRPr sz="105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6A6A5648-0AA8-434D-BC0D-B2CE83EF011F}"/>
              </a:ext>
            </a:extLst>
          </p:cNvPr>
          <p:cNvSpPr>
            <a:spLocks noGrp="1"/>
          </p:cNvSpPr>
          <p:nvPr>
            <p:ph type="pic" idx="14"/>
          </p:nvPr>
        </p:nvSpPr>
        <p:spPr>
          <a:xfrm>
            <a:off x="9049536" y="1863118"/>
            <a:ext cx="2512800" cy="192600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sv-SE" dirty="0"/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8B8C9EFF-13F6-4509-92D5-6D64851C06EE}"/>
              </a:ext>
            </a:extLst>
          </p:cNvPr>
          <p:cNvSpPr>
            <a:spLocks noGrp="1"/>
          </p:cNvSpPr>
          <p:nvPr>
            <p:ph type="pic" idx="15"/>
          </p:nvPr>
        </p:nvSpPr>
        <p:spPr>
          <a:xfrm>
            <a:off x="6382337" y="3942988"/>
            <a:ext cx="2512800" cy="192600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sv-SE" dirty="0"/>
          </a:p>
        </p:txBody>
      </p:sp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781755CB-935A-4DB7-BAEE-E89922AFC68B}"/>
              </a:ext>
            </a:extLst>
          </p:cNvPr>
          <p:cNvSpPr>
            <a:spLocks noGrp="1"/>
          </p:cNvSpPr>
          <p:nvPr>
            <p:ph type="pic" idx="16"/>
          </p:nvPr>
        </p:nvSpPr>
        <p:spPr>
          <a:xfrm>
            <a:off x="9049536" y="3942988"/>
            <a:ext cx="2512800" cy="192600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sv-SE" dirty="0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BB522F33-7B24-4841-B73D-31C319C79AC2}"/>
              </a:ext>
            </a:extLst>
          </p:cNvPr>
          <p:cNvSpPr>
            <a:spLocks noGrp="1"/>
          </p:cNvSpPr>
          <p:nvPr>
            <p:ph type="body" sz="half" idx="17"/>
          </p:nvPr>
        </p:nvSpPr>
        <p:spPr>
          <a:xfrm>
            <a:off x="9049537" y="5876926"/>
            <a:ext cx="2512799" cy="435247"/>
          </a:xfrm>
        </p:spPr>
        <p:txBody>
          <a:bodyPr>
            <a:normAutofit/>
          </a:bodyPr>
          <a:lstStyle>
            <a:lvl1pPr marL="0" indent="0">
              <a:buNone/>
              <a:defRPr sz="105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7793223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AE8E567-C25D-4DFD-AFA2-04161DEC39E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0" y="0"/>
            <a:ext cx="12192000" cy="685800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sv-SE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F4DCA90-BF5E-49C3-A325-C0DD4A2769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4766" y="457200"/>
            <a:ext cx="5161801" cy="1188720"/>
          </a:xfrm>
        </p:spPr>
        <p:txBody>
          <a:bodyPr anchor="b">
            <a:normAutofit/>
          </a:bodyPr>
          <a:lstStyle>
            <a:lvl1pPr>
              <a:defRPr sz="3400"/>
            </a:lvl1pPr>
          </a:lstStyle>
          <a:p>
            <a:r>
              <a:rPr lang="en-US"/>
              <a:t>Click to edit Master title style</a:t>
            </a:r>
            <a:endParaRPr lang="sv-SE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BD8AE3B-8B4C-4C97-B6E6-A4DABF8F054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74767" y="1863118"/>
            <a:ext cx="5161800" cy="4005870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54792B5-8189-4693-BAAF-C4A675E63E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91D11F-2023-4142-8FF6-FF3F62452633}" type="datetimeFigureOut">
              <a:rPr lang="sv-SE" smtClean="0"/>
              <a:t>2023-06-29</a:t>
            </a:fld>
            <a:endParaRPr lang="sv-S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D94115F-40BC-4BDD-8111-C2BD1E2F0C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E768846-3D41-4B8D-B8F1-F6E2CC21E3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367BF0-74F3-490C-B581-60C71F59DF47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79737259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2D5CBF-39D1-4AA0-9D82-D01CCA17EE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v-SE" dirty="0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192A7CE-4904-458F-8052-0E64D9E610C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E225A2B-CF17-4D36-8AB7-E0AAD6230E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91D11F-2023-4142-8FF6-FF3F62452633}" type="datetimeFigureOut">
              <a:rPr lang="sv-SE" smtClean="0"/>
              <a:t>2023-06-29</a:t>
            </a:fld>
            <a:endParaRPr lang="sv-S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5479F23-A38A-4A12-A864-CDAC7BC08C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D94E90C-4420-4A92-8976-3158732EFA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367BF0-74F3-490C-B581-60C71F59DF47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38862500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1F55099F-8370-40DD-A2E2-B822E332035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7813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sv-SE" dirty="0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525BDD9-7CD4-44B2-8ADF-B2C3A0EA3E5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AF2DE03-6DF3-4220-A2FB-32EA238C08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91D11F-2023-4142-8FF6-FF3F62452633}" type="datetimeFigureOut">
              <a:rPr lang="sv-SE" smtClean="0"/>
              <a:t>2023-06-29</a:t>
            </a:fld>
            <a:endParaRPr lang="sv-S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D96FA93-7A03-44F4-8FA2-DC73DE4E11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783DB65-E9FA-4ACA-8DA3-30FCC2DFF9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367BF0-74F3-490C-B581-60C71F59DF47}" type="slidenum">
              <a:rPr lang="sv-SE" smtClean="0"/>
              <a:t>‹#›</a:t>
            </a:fld>
            <a:endParaRPr lang="sv-SE"/>
          </a:p>
        </p:txBody>
      </p:sp>
      <p:pic>
        <p:nvPicPr>
          <p:cNvPr id="7" name="Picture 6" descr="A close up of a sign&#10;&#10;Description automatically generated">
            <a:extLst>
              <a:ext uri="{FF2B5EF4-FFF2-40B4-BE49-F238E27FC236}">
                <a16:creationId xmlns:a16="http://schemas.microsoft.com/office/drawing/2014/main" id="{A9B740E3-9065-4DFD-991D-5D254A21096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10678291" y="5349055"/>
            <a:ext cx="1239166" cy="4166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561411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1C581C0-3298-49C3-9B80-0A5C9A80B9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91D11F-2023-4142-8FF6-FF3F62452633}" type="datetimeFigureOut">
              <a:rPr lang="sv-SE" smtClean="0"/>
              <a:t>2023-06-29</a:t>
            </a:fld>
            <a:endParaRPr lang="sv-S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B353F6B-84B8-42D7-9764-CD7E55AA0C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8BD6846-5755-4417-A87E-55B998D784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367BF0-74F3-490C-B581-60C71F59DF47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32281644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99905C-736C-4034-A0F7-AEB5CA68F96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>
            <a:normAutofit/>
          </a:bodyPr>
          <a:lstStyle>
            <a:lvl1pPr algn="ctr">
              <a:defRPr sz="3400"/>
            </a:lvl1pPr>
          </a:lstStyle>
          <a:p>
            <a:r>
              <a:rPr lang="en-US"/>
              <a:t>Click to edit Master title style</a:t>
            </a:r>
            <a:endParaRPr lang="sv-S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A619B59-D63E-4CCE-A0A8-445EC265066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sv-SE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A63C11E-D04F-43FD-BA2F-0842BEF9BE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91D11F-2023-4142-8FF6-FF3F62452633}" type="datetimeFigureOut">
              <a:rPr lang="sv-SE" smtClean="0"/>
              <a:t>2023-06-29</a:t>
            </a:fld>
            <a:endParaRPr lang="sv-S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6AEB1E5-13CD-4AC7-AD3F-73657DA6AC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4D9F2C8-E1CC-46A0-B4E6-B3FF16408E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367BF0-74F3-490C-B581-60C71F59DF47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90820897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bg>
      <p:bgPr>
        <a:solidFill>
          <a:schemeClr val="bg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99905C-736C-4034-A0F7-AEB5CA68F96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>
            <a:normAutofit/>
          </a:bodyPr>
          <a:lstStyle>
            <a:lvl1pPr algn="ctr">
              <a:defRPr sz="3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sv-SE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A619B59-D63E-4CCE-A0A8-445EC265066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>
            <a:norm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sv-SE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A63C11E-D04F-43FD-BA2F-0842BEF9BE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91D11F-2023-4142-8FF6-FF3F62452633}" type="datetimeFigureOut">
              <a:rPr lang="sv-SE" smtClean="0"/>
              <a:t>2023-06-29</a:t>
            </a:fld>
            <a:endParaRPr lang="sv-S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6AEB1E5-13CD-4AC7-AD3F-73657DA6AC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4D9F2C8-E1CC-46A0-B4E6-B3FF16408E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367BF0-74F3-490C-B581-60C71F59DF47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29610757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F637F9-C0F9-457C-8948-2BE3820250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sv-S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4A7138A-BEDB-40B2-984D-77D1B8B4EDE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2056A8C-8085-41EE-9B4E-4EE300C0A8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91D11F-2023-4142-8FF6-FF3F62452633}" type="datetimeFigureOut">
              <a:rPr lang="sv-SE" smtClean="0"/>
              <a:t>2023-06-29</a:t>
            </a:fld>
            <a:endParaRPr lang="sv-S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7C8EF64-3D0C-4D16-9C1D-3B2CB3A585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AD9DD24-F98B-4808-B627-618D83A6BC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367BF0-74F3-490C-B581-60C71F59DF47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9667492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A6A692-B605-405E-84CB-7209F31D8B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4766" y="391886"/>
            <a:ext cx="9596845" cy="1105988"/>
          </a:xfrm>
        </p:spPr>
        <p:txBody>
          <a:bodyPr anchor="b">
            <a:normAutofit/>
          </a:bodyPr>
          <a:lstStyle>
            <a:lvl1pPr>
              <a:defRPr sz="3400" b="1">
                <a:latin typeface="Arial Nova" panose="020B05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sv-S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B71D3D8-2708-4D48-8108-800D5C8E50C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74767" y="1855179"/>
            <a:ext cx="5161799" cy="4478946"/>
          </a:xfrm>
        </p:spPr>
        <p:txBody>
          <a:bodyPr/>
          <a:lstStyle>
            <a:lvl1pPr marL="0" indent="0">
              <a:buNone/>
              <a:defRPr sz="1600">
                <a:latin typeface="Arial Nova Light" panose="020B0304020202020204" pitchFamily="34" charset="0"/>
              </a:defRPr>
            </a:lvl1pPr>
            <a:lvl2pPr>
              <a:defRPr sz="1400">
                <a:latin typeface="Arial Nova Light" panose="020B0304020202020204" pitchFamily="34" charset="0"/>
              </a:defRPr>
            </a:lvl2pPr>
            <a:lvl3pPr>
              <a:defRPr sz="1200">
                <a:latin typeface="Arial Nova Light" panose="020B0304020202020204" pitchFamily="34" charset="0"/>
              </a:defRPr>
            </a:lvl3pPr>
            <a:lvl4pPr>
              <a:defRPr sz="1100">
                <a:latin typeface="Arial Nova Light" panose="020B0304020202020204" pitchFamily="34" charset="0"/>
              </a:defRPr>
            </a:lvl4pPr>
            <a:lvl5pPr>
              <a:defRPr sz="1100">
                <a:latin typeface="Arial Nova Light" panose="020B03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3F02CC0-EF11-45E4-82AF-4FA7D354128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55179"/>
            <a:ext cx="5392783" cy="4478945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600">
                <a:latin typeface="Arial Nova Light" panose="020B0304020202020204" pitchFamily="34" charset="0"/>
              </a:defRPr>
            </a:lvl1pPr>
            <a:lvl2pPr>
              <a:lnSpc>
                <a:spcPct val="100000"/>
              </a:lnSpc>
              <a:defRPr sz="1400">
                <a:latin typeface="Arial Nova Light" panose="020B0304020202020204" pitchFamily="34" charset="0"/>
              </a:defRPr>
            </a:lvl2pPr>
            <a:lvl3pPr>
              <a:lnSpc>
                <a:spcPct val="100000"/>
              </a:lnSpc>
              <a:defRPr sz="1200">
                <a:latin typeface="Arial Nova Light" panose="020B0304020202020204" pitchFamily="34" charset="0"/>
              </a:defRPr>
            </a:lvl3pPr>
            <a:lvl4pPr>
              <a:lnSpc>
                <a:spcPct val="100000"/>
              </a:lnSpc>
              <a:defRPr sz="1100">
                <a:latin typeface="Arial Nova Light" panose="020B0304020202020204" pitchFamily="34" charset="0"/>
              </a:defRPr>
            </a:lvl4pPr>
            <a:lvl5pPr>
              <a:lnSpc>
                <a:spcPct val="100000"/>
              </a:lnSpc>
              <a:defRPr sz="1100">
                <a:latin typeface="Arial Nova Light" panose="020B03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60D5A8B-BFFF-41FF-8522-9EEACD74F5F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76000" y="6469062"/>
            <a:ext cx="2876365" cy="252413"/>
          </a:xfrm>
        </p:spPr>
        <p:txBody>
          <a:bodyPr/>
          <a:lstStyle>
            <a:lvl1pPr>
              <a:defRPr sz="1050">
                <a:latin typeface="Arial Nova Light" panose="020B0304020202020204" pitchFamily="34" charset="0"/>
              </a:defRPr>
            </a:lvl1pPr>
          </a:lstStyle>
          <a:p>
            <a:fld id="{2491D11F-2023-4142-8FF6-FF3F62452633}" type="datetimeFigureOut">
              <a:rPr lang="sv-SE" smtClean="0"/>
              <a:pPr/>
              <a:t>2023-06-29</a:t>
            </a:fld>
            <a:endParaRPr lang="sv-S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0A6EFA5-72DD-4610-B340-CADD063FFB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69062"/>
            <a:ext cx="4114800" cy="252413"/>
          </a:xfrm>
        </p:spPr>
        <p:txBody>
          <a:bodyPr/>
          <a:lstStyle>
            <a:lvl1pPr>
              <a:defRPr sz="1050">
                <a:latin typeface="Arial Nova Light" panose="020B0304020202020204" pitchFamily="34" charset="0"/>
              </a:defRPr>
            </a:lvl1pPr>
          </a:lstStyle>
          <a:p>
            <a:endParaRPr lang="sv-S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2E266C0-9E63-4923-A6EA-E47C13D0FF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469062"/>
            <a:ext cx="2954382" cy="252413"/>
          </a:xfrm>
        </p:spPr>
        <p:txBody>
          <a:bodyPr/>
          <a:lstStyle>
            <a:lvl1pPr>
              <a:defRPr sz="1050">
                <a:latin typeface="Arial Nova Light" panose="020B0304020202020204" pitchFamily="34" charset="0"/>
              </a:defRPr>
            </a:lvl1pPr>
          </a:lstStyle>
          <a:p>
            <a:fld id="{E4367BF0-74F3-490C-B581-60C71F59DF47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28696243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A6A692-B605-405E-84CB-7209F31D8B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4766" y="391886"/>
            <a:ext cx="9675223" cy="1105988"/>
          </a:xfrm>
        </p:spPr>
        <p:txBody>
          <a:bodyPr anchor="b">
            <a:normAutofit/>
          </a:bodyPr>
          <a:lstStyle>
            <a:lvl1pPr>
              <a:defRPr sz="3400" b="1">
                <a:latin typeface="Arial Nova" panose="020B05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sv-SE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B71D3D8-2708-4D48-8108-800D5C8E50C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74767" y="1855179"/>
            <a:ext cx="5161799" cy="4478946"/>
          </a:xfrm>
        </p:spPr>
        <p:txBody>
          <a:bodyPr/>
          <a:lstStyle>
            <a:lvl1pPr marL="0" indent="0">
              <a:buNone/>
              <a:defRPr sz="1600">
                <a:latin typeface="Arial Nova Light" panose="020B0304020202020204" pitchFamily="34" charset="0"/>
              </a:defRPr>
            </a:lvl1pPr>
            <a:lvl2pPr>
              <a:defRPr sz="1400">
                <a:latin typeface="Arial Nova Light" panose="020B0304020202020204" pitchFamily="34" charset="0"/>
              </a:defRPr>
            </a:lvl2pPr>
            <a:lvl3pPr>
              <a:defRPr sz="1200">
                <a:latin typeface="Arial Nova Light" panose="020B0304020202020204" pitchFamily="34" charset="0"/>
              </a:defRPr>
            </a:lvl3pPr>
            <a:lvl4pPr>
              <a:defRPr sz="1100">
                <a:latin typeface="Arial Nova Light" panose="020B0304020202020204" pitchFamily="34" charset="0"/>
              </a:defRPr>
            </a:lvl4pPr>
            <a:lvl5pPr>
              <a:defRPr sz="1100">
                <a:latin typeface="Arial Nova Light" panose="020B03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60D5A8B-BFFF-41FF-8522-9EEACD74F5F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76000" y="6469062"/>
            <a:ext cx="2876365" cy="252413"/>
          </a:xfrm>
        </p:spPr>
        <p:txBody>
          <a:bodyPr/>
          <a:lstStyle>
            <a:lvl1pPr>
              <a:defRPr sz="1050">
                <a:latin typeface="Arial Nova Light" panose="020B0304020202020204" pitchFamily="34" charset="0"/>
              </a:defRPr>
            </a:lvl1pPr>
          </a:lstStyle>
          <a:p>
            <a:fld id="{2491D11F-2023-4142-8FF6-FF3F62452633}" type="datetimeFigureOut">
              <a:rPr lang="sv-SE" smtClean="0"/>
              <a:pPr/>
              <a:t>2023-06-29</a:t>
            </a:fld>
            <a:endParaRPr lang="sv-S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0A6EFA5-72DD-4610-B340-CADD063FFB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69062"/>
            <a:ext cx="4114800" cy="252413"/>
          </a:xfrm>
        </p:spPr>
        <p:txBody>
          <a:bodyPr/>
          <a:lstStyle>
            <a:lvl1pPr>
              <a:defRPr sz="1050">
                <a:latin typeface="Arial Nova Light" panose="020B0304020202020204" pitchFamily="34" charset="0"/>
              </a:defRPr>
            </a:lvl1pPr>
          </a:lstStyle>
          <a:p>
            <a:endParaRPr lang="sv-S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2E266C0-9E63-4923-A6EA-E47C13D0FF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469062"/>
            <a:ext cx="2954382" cy="252413"/>
          </a:xfrm>
        </p:spPr>
        <p:txBody>
          <a:bodyPr/>
          <a:lstStyle>
            <a:lvl1pPr>
              <a:defRPr sz="1050">
                <a:latin typeface="Arial Nova Light" panose="020B0304020202020204" pitchFamily="34" charset="0"/>
              </a:defRPr>
            </a:lvl1pPr>
          </a:lstStyle>
          <a:p>
            <a:fld id="{E4367BF0-74F3-490C-B581-60C71F59DF47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ED427F53-06AA-458E-A6F0-F92CE198EE7A}"/>
              </a:ext>
            </a:extLst>
          </p:cNvPr>
          <p:cNvSpPr>
            <a:spLocks noGrp="1"/>
          </p:cNvSpPr>
          <p:nvPr>
            <p:ph type="pic" idx="13"/>
          </p:nvPr>
        </p:nvSpPr>
        <p:spPr>
          <a:xfrm>
            <a:off x="6172200" y="1855179"/>
            <a:ext cx="5392782" cy="4478945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57839722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00E8858-7774-437B-AA36-6F6B1ADA40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4765" y="391885"/>
            <a:ext cx="9683931" cy="110598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E61359F-4F10-4ACF-AEE3-D1E176C1412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74765" y="1855179"/>
            <a:ext cx="5161801" cy="649896"/>
          </a:xfrm>
        </p:spPr>
        <p:txBody>
          <a:bodyPr anchor="t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197F013-1492-4B38-AB42-8FC7EC47340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74765" y="2505074"/>
            <a:ext cx="5161801" cy="386089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FE079B7-1339-47BC-AB13-59BD5137509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855179"/>
            <a:ext cx="5392782" cy="649895"/>
          </a:xfrm>
        </p:spPr>
        <p:txBody>
          <a:bodyPr anchor="t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02A475F-82A4-4AE6-A1B8-2F1985A08EA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392782" cy="386089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BFD52C4-111A-4EB5-855C-279DD12D3D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91D11F-2023-4142-8FF6-FF3F62452633}" type="datetimeFigureOut">
              <a:rPr lang="sv-SE" smtClean="0"/>
              <a:t>2023-06-29</a:t>
            </a:fld>
            <a:endParaRPr lang="sv-SE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5B8A75E-B3ED-4E0B-B236-79858000E0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CB5F062-743A-4C2A-AE40-0D2210EDAD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367BF0-74F3-490C-B581-60C71F59DF47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11619408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DB91FF6-3B01-44DE-9818-547315DA34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4765" y="391886"/>
            <a:ext cx="9675223" cy="110598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sv-S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226D59F-5D27-4AD9-AA0E-6A9C5EBCC2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91D11F-2023-4142-8FF6-FF3F62452633}" type="datetimeFigureOut">
              <a:rPr lang="sv-SE" smtClean="0"/>
              <a:t>2023-06-29</a:t>
            </a:fld>
            <a:endParaRPr lang="sv-S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6169B59-1510-498C-93F5-4E0C509550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3B16FDA-431A-47D2-AA87-B4DF7040FD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367BF0-74F3-490C-B581-60C71F59DF47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2665369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1C581C0-3298-49C3-9B80-0A5C9A80B9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91D11F-2023-4142-8FF6-FF3F62452633}" type="datetimeFigureOut">
              <a:rPr lang="sv-SE" smtClean="0"/>
              <a:t>2023-06-29</a:t>
            </a:fld>
            <a:endParaRPr lang="sv-S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B353F6B-84B8-42D7-9764-CD7E55AA0C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8BD6846-5755-4417-A87E-55B998D784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367BF0-74F3-490C-B581-60C71F59DF47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0166774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/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11063278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7" name="Слайд think-cell" r:id="rId22" imgW="499" imgH="499" progId="TCLayout.ActiveDocument.1">
                  <p:embed/>
                </p:oleObj>
              </mc:Choice>
              <mc:Fallback>
                <p:oleObj name="Слайд think-cell" r:id="rId22" imgW="499" imgH="4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551D960-FB88-457E-834A-72054C90BF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4766" y="391886"/>
            <a:ext cx="9657805" cy="1105988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/>
              <a:t>Click to edit Master title style</a:t>
            </a:r>
            <a:endParaRPr lang="sv-S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46AB7A1-61B5-4ED8-A721-96CAA898107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74765" y="1629863"/>
            <a:ext cx="10990217" cy="470426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FDA2C19-E4A0-498C-957B-B81E5EB0351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74765" y="6469062"/>
            <a:ext cx="3006635" cy="25241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tx1">
                    <a:tint val="75000"/>
                  </a:schemeClr>
                </a:solidFill>
                <a:latin typeface="Arial Nova Light" panose="020B0304020202020204" pitchFamily="34" charset="0"/>
              </a:defRPr>
            </a:lvl1pPr>
          </a:lstStyle>
          <a:p>
            <a:fld id="{2491D11F-2023-4142-8FF6-FF3F62452633}" type="datetimeFigureOut">
              <a:rPr lang="sv-SE" smtClean="0"/>
              <a:pPr/>
              <a:t>2023-06-29</a:t>
            </a:fld>
            <a:endParaRPr lang="sv-S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254B277-4718-4767-89B5-04324CDAC83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469062"/>
            <a:ext cx="4114800" cy="25241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50">
                <a:solidFill>
                  <a:schemeClr val="tx1">
                    <a:tint val="75000"/>
                  </a:schemeClr>
                </a:solidFill>
                <a:latin typeface="Arial Nova Light" panose="020B0304020202020204" pitchFamily="34" charset="0"/>
              </a:defRPr>
            </a:lvl1pPr>
          </a:lstStyle>
          <a:p>
            <a:endParaRPr lang="sv-S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9BC3338-66EF-430E-B261-E5EB837EE3F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469062"/>
            <a:ext cx="2954382" cy="25241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chemeClr val="tx1">
                    <a:tint val="75000"/>
                  </a:schemeClr>
                </a:solidFill>
                <a:latin typeface="Arial Nova Light" panose="020B0304020202020204" pitchFamily="34" charset="0"/>
              </a:defRPr>
            </a:lvl1pPr>
          </a:lstStyle>
          <a:p>
            <a:fld id="{E4367BF0-74F3-490C-B581-60C71F59DF47}" type="slidenum">
              <a:rPr lang="sv-SE" smtClean="0"/>
              <a:pPr/>
              <a:t>‹#›</a:t>
            </a:fld>
            <a:endParaRPr lang="sv-SE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932C566-9CD9-4E3E-A832-874A7622DF85}"/>
              </a:ext>
            </a:extLst>
          </p:cNvPr>
          <p:cNvPicPr>
            <a:picLocks noChangeAspect="1"/>
          </p:cNvPicPr>
          <p:nvPr userDrawn="1"/>
        </p:nvPicPr>
        <p:blipFill>
          <a:blip r:embed="rId2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325816" y="445494"/>
            <a:ext cx="1239165" cy="4166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54602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49" r:id="rId2"/>
    <p:sldLayoutId id="2147483661" r:id="rId3"/>
    <p:sldLayoutId id="2147483650" r:id="rId4"/>
    <p:sldLayoutId id="2147483652" r:id="rId5"/>
    <p:sldLayoutId id="2147483666" r:id="rId6"/>
    <p:sldLayoutId id="2147483653" r:id="rId7"/>
    <p:sldLayoutId id="2147483654" r:id="rId8"/>
    <p:sldLayoutId id="2147483655" r:id="rId9"/>
    <p:sldLayoutId id="2147483656" r:id="rId10"/>
    <p:sldLayoutId id="2147483657" r:id="rId11"/>
    <p:sldLayoutId id="2147483662" r:id="rId12"/>
    <p:sldLayoutId id="2147483663" r:id="rId13"/>
    <p:sldLayoutId id="2147483664" r:id="rId14"/>
    <p:sldLayoutId id="2147483665" r:id="rId15"/>
    <p:sldLayoutId id="2147483658" r:id="rId16"/>
    <p:sldLayoutId id="2147483659" r:id="rId17"/>
    <p:sldLayoutId id="2147483660" r:id="rId18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400" b="1" kern="1200">
          <a:solidFill>
            <a:schemeClr val="tx1"/>
          </a:solidFill>
          <a:latin typeface="Arial Nova" panose="020B0504020202020204" pitchFamily="34" charset="0"/>
          <a:ea typeface="+mj-ea"/>
          <a:cs typeface="+mj-cs"/>
        </a:defRPr>
      </a:lvl1pPr>
    </p:titleStyle>
    <p:bodyStyle>
      <a:lvl1pPr marL="182563" indent="-182563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 Nova Light" panose="020B0304020202020204" pitchFamily="34" charset="0"/>
          <a:ea typeface="+mn-ea"/>
          <a:cs typeface="+mn-cs"/>
        </a:defRPr>
      </a:lvl1pPr>
      <a:lvl2pPr marL="357188" indent="-174625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 Nova Light" panose="020B0304020202020204" pitchFamily="34" charset="0"/>
          <a:ea typeface="+mn-ea"/>
          <a:cs typeface="+mn-cs"/>
        </a:defRPr>
      </a:lvl2pPr>
      <a:lvl3pPr marL="539750" indent="-182563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 Nova Light" panose="020B0304020202020204" pitchFamily="34" charset="0"/>
          <a:ea typeface="+mn-ea"/>
          <a:cs typeface="+mn-cs"/>
        </a:defRPr>
      </a:lvl3pPr>
      <a:lvl4pPr marL="714375" indent="-174625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Arial Nova Light" panose="020B0304020202020204" pitchFamily="34" charset="0"/>
          <a:ea typeface="+mn-ea"/>
          <a:cs typeface="+mn-cs"/>
        </a:defRPr>
      </a:lvl4pPr>
      <a:lvl5pPr marL="896938" indent="-182563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Arial Nova Light" panose="020B03040202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3.jpeg"/><Relationship Id="rId5" Type="http://schemas.openxmlformats.org/officeDocument/2006/relationships/image" Target="../media/image12.jpeg"/><Relationship Id="rId4" Type="http://schemas.openxmlformats.org/officeDocument/2006/relationships/image" Target="../media/image11.jpe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48B324-58E5-4E88-92B3-3C96903963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4765" y="532584"/>
            <a:ext cx="10283735" cy="1217840"/>
          </a:xfrm>
        </p:spPr>
        <p:txBody>
          <a:bodyPr/>
          <a:lstStyle/>
          <a:p>
            <a:r>
              <a:rPr lang="ru-RU" dirty="0" smtClean="0">
                <a:latin typeface="+mn-lt"/>
              </a:rPr>
              <a:t>Газ на стеклокерамике: обновления</a:t>
            </a:r>
            <a:endParaRPr lang="en-GB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5121539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73429" y="141372"/>
            <a:ext cx="10003180" cy="1105988"/>
          </a:xfrm>
        </p:spPr>
        <p:txBody>
          <a:bodyPr>
            <a:normAutofit/>
          </a:bodyPr>
          <a:lstStyle/>
          <a:p>
            <a:pPr>
              <a:lnSpc>
                <a:spcPct val="100000"/>
              </a:lnSpc>
            </a:pPr>
            <a:r>
              <a:rPr lang="en-US" sz="3200" b="0" dirty="0">
                <a:solidFill>
                  <a:srgbClr val="000000"/>
                </a:solidFill>
                <a:latin typeface="+mn-lt"/>
              </a:rPr>
              <a:t>HG8843BGB1</a:t>
            </a:r>
            <a:r>
              <a:rPr lang="en-US" sz="3200" b="0" dirty="0" smtClean="0">
                <a:solidFill>
                  <a:srgbClr val="000000"/>
                </a:solidFill>
                <a:latin typeface="+mn-lt"/>
              </a:rPr>
              <a:t> - </a:t>
            </a:r>
            <a:r>
              <a:rPr lang="ru-RU" sz="3200" b="0" dirty="0">
                <a:solidFill>
                  <a:srgbClr val="000000"/>
                </a:solidFill>
                <a:latin typeface="+mn-lt"/>
              </a:rPr>
              <a:t>Газовая варочная панель, стеклокерамика, 80 см</a:t>
            </a:r>
            <a:endParaRPr lang="ru-RU" sz="3000" dirty="0">
              <a:latin typeface="+mn-lt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706495" y="5625530"/>
            <a:ext cx="472059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/>
              <a:t>Цвет: черный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SAP </a:t>
            </a:r>
            <a:r>
              <a:rPr lang="ru-RU" sz="1600" dirty="0"/>
              <a:t>код: </a:t>
            </a:r>
            <a:r>
              <a:rPr lang="ru-RU" sz="1600" dirty="0">
                <a:solidFill>
                  <a:srgbClr val="000000"/>
                </a:solidFill>
                <a:latin typeface="Calibri" panose="020F0502020204030204" pitchFamily="34" charset="0"/>
              </a:rPr>
              <a:t>741476</a:t>
            </a:r>
            <a:endParaRPr lang="ru-RU" sz="1600" dirty="0"/>
          </a:p>
        </p:txBody>
      </p:sp>
      <p:sp>
        <p:nvSpPr>
          <p:cNvPr id="6" name="TextBox 5"/>
          <p:cNvSpPr txBox="1"/>
          <p:nvPr/>
        </p:nvSpPr>
        <p:spPr>
          <a:xfrm>
            <a:off x="5454794" y="3358969"/>
            <a:ext cx="6151418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smtClean="0"/>
              <a:t>Ширина: 80 см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/>
              <a:t>Новый тип рамки из нержавеющей стали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smtClean="0"/>
              <a:t>3 конфорки А+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smtClean="0"/>
              <a:t>1 конфорка </a:t>
            </a:r>
            <a:r>
              <a:rPr lang="ru-RU" sz="1600" dirty="0" err="1" smtClean="0"/>
              <a:t>вок</a:t>
            </a:r>
            <a:r>
              <a:rPr lang="ru-RU" sz="1600" dirty="0" smtClean="0"/>
              <a:t> </a:t>
            </a:r>
            <a:r>
              <a:rPr lang="en-US" sz="1600" dirty="0" smtClean="0"/>
              <a:t>Fusion Volcan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smtClean="0"/>
              <a:t>Конфорки из материала </a:t>
            </a:r>
            <a:r>
              <a:rPr lang="en-US" sz="1600" dirty="0" err="1" smtClean="0"/>
              <a:t>Keradur</a:t>
            </a:r>
            <a:r>
              <a:rPr lang="ru-RU" sz="1600" dirty="0" smtClean="0"/>
              <a:t>™</a:t>
            </a:r>
            <a:endParaRPr lang="en-US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smtClean="0"/>
              <a:t>Раздельные чугунные решетки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err="1" smtClean="0"/>
              <a:t>Автоподжиг</a:t>
            </a:r>
            <a:endParaRPr lang="ru-RU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err="1" smtClean="0"/>
              <a:t>Газконтроль</a:t>
            </a:r>
            <a:endParaRPr lang="ru-RU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smtClean="0"/>
              <a:t>Съемные металлические ручки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sz="1600" dirty="0"/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ru-RU" sz="1600" dirty="0" smtClean="0"/>
          </a:p>
          <a:p>
            <a:pPr marL="285750" indent="-285750" algn="l">
              <a:buFont typeface="Arial" panose="020B0604020202020204" pitchFamily="34" charset="0"/>
              <a:buChar char="•"/>
            </a:pPr>
            <a:endParaRPr lang="en-US" sz="1600" dirty="0" smtClean="0"/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1272" y="2035465"/>
            <a:ext cx="4021282" cy="2647009"/>
          </a:xfrm>
          <a:prstGeom prst="rect">
            <a:avLst/>
          </a:prstGeom>
        </p:spPr>
      </p:pic>
      <p:sp>
        <p:nvSpPr>
          <p:cNvPr id="5" name="Прямоугольник 4"/>
          <p:cNvSpPr/>
          <p:nvPr/>
        </p:nvSpPr>
        <p:spPr>
          <a:xfrm>
            <a:off x="5454794" y="1973974"/>
            <a:ext cx="6096000" cy="1384995"/>
          </a:xfrm>
          <a:prstGeom prst="rect">
            <a:avLst/>
          </a:prstGeom>
        </p:spPr>
        <p:txBody>
          <a:bodyPr>
            <a:spAutoFit/>
          </a:bodyPr>
          <a:lstStyle/>
          <a:p>
            <a:pPr algn="just"/>
            <a:r>
              <a:rPr lang="ru-RU" sz="1400" dirty="0"/>
              <a:t>Газовая варочная поверхность на стеклокерамическом основании оснащена тремя мощными конфорками A+ и одной сверхмощной конфоркой </a:t>
            </a:r>
            <a:r>
              <a:rPr lang="ru-RU" sz="1400" dirty="0" err="1"/>
              <a:t>Fusion</a:t>
            </a:r>
            <a:r>
              <a:rPr lang="ru-RU" sz="1400" dirty="0"/>
              <a:t> </a:t>
            </a:r>
            <a:r>
              <a:rPr lang="ru-RU" sz="1400" dirty="0" err="1"/>
              <a:t>Volcano</a:t>
            </a:r>
            <a:r>
              <a:rPr lang="ru-RU" sz="1400" dirty="0"/>
              <a:t> </a:t>
            </a:r>
            <a:r>
              <a:rPr lang="ru-RU" sz="1400" dirty="0" err="1"/>
              <a:t>Wok</a:t>
            </a:r>
            <a:r>
              <a:rPr lang="ru-RU" sz="1400" dirty="0"/>
              <a:t>™, которая фокусирует пламя в центре дна сковороды. Теперь настоящий </a:t>
            </a:r>
            <a:r>
              <a:rPr lang="ru-RU" sz="1400" dirty="0" err="1"/>
              <a:t>Wok</a:t>
            </a:r>
            <a:r>
              <a:rPr lang="ru-RU" sz="1400" dirty="0"/>
              <a:t> на вашей собственной кухне! Варочная панель имеет плавную и быструю регулировку, благодаря которой вы всегда установите необходимую мощность для разных видов приготовления. </a:t>
            </a:r>
          </a:p>
        </p:txBody>
      </p:sp>
    </p:spTree>
    <p:extLst>
      <p:ext uri="{BB962C8B-B14F-4D97-AF65-F5344CB8AC3E}">
        <p14:creationId xmlns:p14="http://schemas.microsoft.com/office/powerpoint/2010/main" val="7364183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73429" y="141372"/>
            <a:ext cx="10003180" cy="1105988"/>
          </a:xfrm>
        </p:spPr>
        <p:txBody>
          <a:bodyPr>
            <a:normAutofit/>
          </a:bodyPr>
          <a:lstStyle/>
          <a:p>
            <a:pPr>
              <a:lnSpc>
                <a:spcPct val="100000"/>
              </a:lnSpc>
            </a:pPr>
            <a:r>
              <a:rPr lang="en-US" sz="3200" b="0" dirty="0">
                <a:solidFill>
                  <a:srgbClr val="000000"/>
                </a:solidFill>
                <a:latin typeface="+mn-lt"/>
              </a:rPr>
              <a:t>HG8144BGB1</a:t>
            </a:r>
            <a:r>
              <a:rPr lang="en-US" sz="3200" b="0" dirty="0" smtClean="0">
                <a:solidFill>
                  <a:srgbClr val="000000"/>
                </a:solidFill>
                <a:latin typeface="+mn-lt"/>
              </a:rPr>
              <a:t> - </a:t>
            </a:r>
            <a:r>
              <a:rPr lang="ru-RU" sz="3200" b="0" dirty="0">
                <a:solidFill>
                  <a:srgbClr val="000000"/>
                </a:solidFill>
                <a:latin typeface="+mn-lt"/>
              </a:rPr>
              <a:t>Газовая варочная панель, стеклокерамика, 111 см</a:t>
            </a:r>
            <a:endParaRPr lang="ru-RU" sz="3000" dirty="0">
              <a:latin typeface="+mn-lt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706495" y="5625530"/>
            <a:ext cx="472059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/>
              <a:t>Цвет: черный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SAP </a:t>
            </a:r>
            <a:r>
              <a:rPr lang="ru-RU" sz="1600" dirty="0"/>
              <a:t>код: </a:t>
            </a:r>
            <a:r>
              <a:rPr lang="ru-RU" sz="16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741474</a:t>
            </a:r>
            <a:endParaRPr lang="ru-RU" sz="1600" dirty="0"/>
          </a:p>
        </p:txBody>
      </p:sp>
      <p:sp>
        <p:nvSpPr>
          <p:cNvPr id="6" name="TextBox 5"/>
          <p:cNvSpPr txBox="1"/>
          <p:nvPr/>
        </p:nvSpPr>
        <p:spPr>
          <a:xfrm>
            <a:off x="5302728" y="3026419"/>
            <a:ext cx="6151418" cy="28007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ru-RU" sz="1600" dirty="0" smtClean="0"/>
              <a:t>Ширина: 111 см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/>
              <a:t>Новый тип рамки из нержавеющей стали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ru-RU" sz="1600" dirty="0" smtClean="0"/>
              <a:t>2 конфорки А+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smtClean="0"/>
              <a:t>2 конфорки </a:t>
            </a:r>
            <a:r>
              <a:rPr lang="ru-RU" sz="1600" dirty="0" err="1" smtClean="0"/>
              <a:t>вок</a:t>
            </a:r>
            <a:r>
              <a:rPr lang="ru-RU" sz="1600" dirty="0" smtClean="0"/>
              <a:t> </a:t>
            </a:r>
            <a:r>
              <a:rPr lang="en-US" sz="1600" dirty="0" smtClean="0"/>
              <a:t>Fusion Volcano</a:t>
            </a:r>
            <a:r>
              <a:rPr lang="ru-RU" sz="1600" dirty="0" smtClean="0"/>
              <a:t>™</a:t>
            </a:r>
            <a:r>
              <a:rPr lang="ru-RU" sz="1600" dirty="0"/>
              <a:t>, </a:t>
            </a:r>
            <a:r>
              <a:rPr lang="ru-RU" sz="1600" dirty="0" smtClean="0"/>
              <a:t>6 кВт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ru-RU" sz="1600" dirty="0" smtClean="0"/>
              <a:t>Стеклокерамическое основание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smtClean="0"/>
              <a:t>Конфорки из материала </a:t>
            </a:r>
            <a:r>
              <a:rPr lang="en-US" sz="1600" dirty="0" err="1" smtClean="0"/>
              <a:t>Keradur</a:t>
            </a:r>
            <a:r>
              <a:rPr lang="ru-RU" sz="1600" dirty="0" smtClean="0"/>
              <a:t>™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ru-RU" sz="1600" dirty="0" smtClean="0"/>
              <a:t>Раздельные чугунные решетки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ru-RU" sz="1600" dirty="0" smtClean="0"/>
              <a:t>Электронный таймер на каждую конфорку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ru-RU" sz="1600" dirty="0" err="1" smtClean="0"/>
              <a:t>Автоподжиг</a:t>
            </a:r>
            <a:endParaRPr lang="ru-RU" sz="1600" dirty="0" smtClean="0"/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ru-RU" sz="1600" dirty="0" smtClean="0"/>
              <a:t>Газ контроль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ru-RU" sz="1600" dirty="0" smtClean="0"/>
              <a:t>Съемные металлические ручки</a:t>
            </a:r>
            <a:endParaRPr lang="en-US" sz="1600" dirty="0" smtClean="0"/>
          </a:p>
        </p:txBody>
      </p:sp>
      <p:pic>
        <p:nvPicPr>
          <p:cNvPr id="5122" name="Picture 2" descr="https://partners.gorenje.com/piadmin/lib/pi_slika.aspx?id=741474&amp;sifra=741474&amp;tipDok=JPG&amp;klas=7113"/>
          <p:cNvPicPr>
            <a:picLocks noChangeAspect="1" noChangeArrowheads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7982" y="2013595"/>
            <a:ext cx="4524006" cy="16761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5330437" y="1856868"/>
            <a:ext cx="6096000" cy="1169551"/>
          </a:xfrm>
          <a:prstGeom prst="rect">
            <a:avLst/>
          </a:prstGeom>
        </p:spPr>
        <p:txBody>
          <a:bodyPr>
            <a:spAutoFit/>
          </a:bodyPr>
          <a:lstStyle/>
          <a:p>
            <a:pPr algn="just"/>
            <a:r>
              <a:rPr lang="ru-RU" sz="1400" dirty="0"/>
              <a:t>Газовая варочная панель на стеклокерамическом основании оснащена двумя мощными конфорками A+ и двумя сверхмощными конфорками </a:t>
            </a:r>
            <a:r>
              <a:rPr lang="ru-RU" sz="1400" dirty="0" err="1"/>
              <a:t>Fusion</a:t>
            </a:r>
            <a:r>
              <a:rPr lang="ru-RU" sz="1400" dirty="0"/>
              <a:t> </a:t>
            </a:r>
            <a:r>
              <a:rPr lang="ru-RU" sz="1400" dirty="0" err="1"/>
              <a:t>Volcano</a:t>
            </a:r>
            <a:r>
              <a:rPr lang="ru-RU" sz="1400" dirty="0"/>
              <a:t> </a:t>
            </a:r>
            <a:r>
              <a:rPr lang="ru-RU" sz="1400" dirty="0" err="1"/>
              <a:t>Wok</a:t>
            </a:r>
            <a:r>
              <a:rPr lang="ru-RU" sz="1400" dirty="0"/>
              <a:t>™. Варочная панель имеет плавную и быструю регулировку, благодаря которой вы всегда установите необходимую мощность для разных видов приготовления. </a:t>
            </a:r>
          </a:p>
        </p:txBody>
      </p:sp>
    </p:spTree>
    <p:extLst>
      <p:ext uri="{BB962C8B-B14F-4D97-AF65-F5344CB8AC3E}">
        <p14:creationId xmlns:p14="http://schemas.microsoft.com/office/powerpoint/2010/main" val="38145197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CA9F309-E32D-4340-88D7-28157CF9902F}"/>
              </a:ext>
            </a:extLst>
          </p:cNvPr>
          <p:cNvCxnSpPr>
            <a:cxnSpLocks/>
          </p:cNvCxnSpPr>
          <p:nvPr/>
        </p:nvCxnSpPr>
        <p:spPr>
          <a:xfrm>
            <a:off x="429208" y="1604868"/>
            <a:ext cx="11243388" cy="0"/>
          </a:xfrm>
          <a:prstGeom prst="line">
            <a:avLst/>
          </a:prstGeom>
          <a:ln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7" name="Rectangle 3">
            <a:extLst>
              <a:ext uri="{FF2B5EF4-FFF2-40B4-BE49-F238E27FC236}">
                <a16:creationId xmlns:a16="http://schemas.microsoft.com/office/drawing/2014/main" id="{CC6A1EA0-C809-04E4-C4B9-D835571A8CA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97566" y="1551006"/>
            <a:ext cx="87014884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-apple-system"/>
              </a:rPr>
              <a:t/>
            </a:r>
            <a:b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-apple-system"/>
              </a:rPr>
            </a:b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aphicFrame>
        <p:nvGraphicFramePr>
          <p:cNvPr id="10" name="Tabel 9">
            <a:extLst>
              <a:ext uri="{FF2B5EF4-FFF2-40B4-BE49-F238E27FC236}">
                <a16:creationId xmlns:a16="http://schemas.microsoft.com/office/drawing/2014/main" id="{DF036193-CF08-4665-9492-BA61C9EBCDA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255157"/>
              </p:ext>
            </p:extLst>
          </p:nvPr>
        </p:nvGraphicFramePr>
        <p:xfrm>
          <a:off x="2368278" y="2451932"/>
          <a:ext cx="7510806" cy="2799906"/>
        </p:xfrm>
        <a:graphic>
          <a:graphicData uri="http://schemas.openxmlformats.org/drawingml/2006/table">
            <a:tbl>
              <a:tblPr/>
              <a:tblGrid>
                <a:gridCol w="1251801">
                  <a:extLst>
                    <a:ext uri="{9D8B030D-6E8A-4147-A177-3AD203B41FA5}">
                      <a16:colId xmlns:a16="http://schemas.microsoft.com/office/drawing/2014/main" val="3143819552"/>
                    </a:ext>
                  </a:extLst>
                </a:gridCol>
                <a:gridCol w="1251801">
                  <a:extLst>
                    <a:ext uri="{9D8B030D-6E8A-4147-A177-3AD203B41FA5}">
                      <a16:colId xmlns:a16="http://schemas.microsoft.com/office/drawing/2014/main" val="3282362163"/>
                    </a:ext>
                  </a:extLst>
                </a:gridCol>
                <a:gridCol w="1251801">
                  <a:extLst>
                    <a:ext uri="{9D8B030D-6E8A-4147-A177-3AD203B41FA5}">
                      <a16:colId xmlns:a16="http://schemas.microsoft.com/office/drawing/2014/main" val="1187253080"/>
                    </a:ext>
                  </a:extLst>
                </a:gridCol>
                <a:gridCol w="1251801">
                  <a:extLst>
                    <a:ext uri="{9D8B030D-6E8A-4147-A177-3AD203B41FA5}">
                      <a16:colId xmlns:a16="http://schemas.microsoft.com/office/drawing/2014/main" val="3556146174"/>
                    </a:ext>
                  </a:extLst>
                </a:gridCol>
                <a:gridCol w="1251801">
                  <a:extLst>
                    <a:ext uri="{9D8B030D-6E8A-4147-A177-3AD203B41FA5}">
                      <a16:colId xmlns:a16="http://schemas.microsoft.com/office/drawing/2014/main" val="7908787"/>
                    </a:ext>
                  </a:extLst>
                </a:gridCol>
                <a:gridCol w="1251801">
                  <a:extLst>
                    <a:ext uri="{9D8B030D-6E8A-4147-A177-3AD203B41FA5}">
                      <a16:colId xmlns:a16="http://schemas.microsoft.com/office/drawing/2014/main" val="1045723842"/>
                    </a:ext>
                  </a:extLst>
                </a:gridCol>
              </a:tblGrid>
              <a:tr h="466651">
                <a:tc>
                  <a:txBody>
                    <a:bodyPr/>
                    <a:lstStyle/>
                    <a:p>
                      <a:pPr algn="ctr" fontAlgn="b"/>
                      <a:r>
                        <a:rPr lang="nl-NL" sz="11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SAP</a:t>
                      </a:r>
                      <a:r>
                        <a:rPr lang="ru-RU" sz="11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US" sz="11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code</a:t>
                      </a:r>
                      <a:r>
                        <a:rPr lang="ru-RU" sz="1100" b="1" i="0" u="none" strike="noStrike" baseline="0" dirty="0" smtClean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US" sz="1100" b="1" i="0" u="none" strike="noStrike" baseline="0" dirty="0" smtClean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OLD</a:t>
                      </a:r>
                      <a:endParaRPr lang="nl-NL" sz="1100" b="1" i="0" u="none" strike="noStrike" dirty="0">
                        <a:solidFill>
                          <a:srgbClr val="FFFFFF"/>
                        </a:solidFill>
                        <a:effectLst/>
                        <a:latin typeface="+mn-lt"/>
                      </a:endParaRPr>
                    </a:p>
                  </a:txBody>
                  <a:tcPr marL="5443" marR="5443" marT="5443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l-NL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Model </a:t>
                      </a:r>
                      <a:r>
                        <a:rPr lang="nl-NL" sz="11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Name OLD</a:t>
                      </a:r>
                      <a:endParaRPr lang="nl-NL" sz="1100" b="1" i="0" u="none" strike="noStrike" dirty="0">
                        <a:solidFill>
                          <a:srgbClr val="FFFFFF"/>
                        </a:solidFill>
                        <a:effectLst/>
                        <a:latin typeface="+mn-lt"/>
                      </a:endParaRPr>
                    </a:p>
                  </a:txBody>
                  <a:tcPr marL="5443" marR="5443" marT="5443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nl-NL" sz="11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SAP code</a:t>
                      </a:r>
                      <a:r>
                        <a:rPr lang="nl-NL" sz="1100" b="1" i="0" u="none" strike="noStrike" baseline="0" dirty="0" smtClean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 NEW</a:t>
                      </a:r>
                      <a:endParaRPr lang="nl-NL" sz="1100" b="1" i="0" u="none" strike="noStrike" dirty="0">
                        <a:solidFill>
                          <a:srgbClr val="FFFFFF"/>
                        </a:solidFill>
                        <a:effectLst/>
                        <a:latin typeface="+mn-lt"/>
                      </a:endParaRPr>
                    </a:p>
                  </a:txBody>
                  <a:tcPr marL="5443" marR="5443" marT="5443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1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Model Name NEW</a:t>
                      </a:r>
                      <a:endParaRPr lang="nl-NL" sz="1100" b="1" i="0" u="none" strike="noStrike" dirty="0">
                        <a:solidFill>
                          <a:srgbClr val="FFFFFF"/>
                        </a:solidFill>
                        <a:effectLst/>
                        <a:latin typeface="+mn-lt"/>
                      </a:endParaRPr>
                    </a:p>
                  </a:txBody>
                  <a:tcPr marL="5443" marR="5443" marT="5443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Дата</a:t>
                      </a:r>
                      <a:r>
                        <a:rPr lang="ru-RU" sz="1100" b="1" i="0" u="none" strike="noStrike" baseline="0" dirty="0" smtClean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 начала </a:t>
                      </a:r>
                    </a:p>
                    <a:p>
                      <a:pPr algn="ctr" fontAlgn="b"/>
                      <a:r>
                        <a:rPr lang="ru-RU" sz="1100" b="1" i="0" u="none" strike="noStrike" baseline="0" dirty="0" smtClean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продаж</a:t>
                      </a:r>
                      <a:endParaRPr lang="nl-NL" sz="1100" b="1" i="0" u="none" strike="noStrike" dirty="0">
                        <a:solidFill>
                          <a:srgbClr val="FFFFFF"/>
                        </a:solidFill>
                        <a:effectLst/>
                        <a:latin typeface="+mn-lt"/>
                      </a:endParaRPr>
                    </a:p>
                  </a:txBody>
                  <a:tcPr marL="5443" marR="5443" marT="5443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РРЦ</a:t>
                      </a:r>
                      <a:endParaRPr lang="nl-NL" sz="1100" b="1" i="0" u="none" strike="noStrike" dirty="0">
                        <a:solidFill>
                          <a:srgbClr val="FFFFFF"/>
                        </a:solidFill>
                        <a:effectLst/>
                        <a:latin typeface="+mn-lt"/>
                      </a:endParaRPr>
                    </a:p>
                  </a:txBody>
                  <a:tcPr marL="5443" marR="5443" marT="5443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9521085"/>
                  </a:ext>
                </a:extLst>
              </a:tr>
              <a:tr h="466651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35376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G1355GB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4147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G8320BGB1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ентябрь 2023</a:t>
                      </a:r>
                      <a:endParaRPr lang="nl-NL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443" marR="5443" marT="5443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9 900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9041935"/>
                  </a:ext>
                </a:extLst>
              </a:tr>
              <a:tr h="466651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35377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G1365GB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41473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G8313BGB1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Август 2023</a:t>
                      </a:r>
                      <a:endParaRPr lang="nl-NL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443" marR="5443" marT="5443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9 900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47850850"/>
                  </a:ext>
                </a:extLst>
              </a:tr>
              <a:tr h="466651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35411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G1615AB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41475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G8640BGB1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Июль 2023</a:t>
                      </a:r>
                      <a:endParaRPr lang="nl-NL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443" marR="5443" marT="5443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4 900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33223642"/>
                  </a:ext>
                </a:extLst>
              </a:tr>
              <a:tr h="466651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35412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G1825AB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41476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G8843BGB1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Июль 2023</a:t>
                      </a:r>
                      <a:endParaRPr lang="nl-NL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443" marR="5443" marT="5443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39 900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92357593"/>
                  </a:ext>
                </a:extLst>
              </a:tr>
              <a:tr h="466651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35379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G1145AB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41474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G8144BGB1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Июль 2023</a:t>
                      </a:r>
                      <a:endParaRPr lang="nl-NL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443" marR="5443" marT="5443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99 900</a:t>
                      </a:r>
                      <a:endParaRPr lang="ru-RU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7114719"/>
                  </a:ext>
                </a:extLst>
              </a:tr>
            </a:tbl>
          </a:graphicData>
        </a:graphic>
      </p:graphicFrame>
      <p:sp>
        <p:nvSpPr>
          <p:cNvPr id="8" name="Title 1">
            <a:extLst>
              <a:ext uri="{FF2B5EF4-FFF2-40B4-BE49-F238E27FC236}">
                <a16:creationId xmlns:a16="http://schemas.microsoft.com/office/drawing/2014/main" id="{52A02AC6-3F5F-49D1-989B-C3C9211CAC26}"/>
              </a:ext>
            </a:extLst>
          </p:cNvPr>
          <p:cNvSpPr txBox="1">
            <a:spLocks/>
          </p:cNvSpPr>
          <p:nvPr/>
        </p:nvSpPr>
        <p:spPr>
          <a:xfrm>
            <a:off x="574765" y="457200"/>
            <a:ext cx="11301801" cy="118872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400" b="1" kern="1200">
                <a:solidFill>
                  <a:schemeClr val="tx1"/>
                </a:solidFill>
                <a:latin typeface="Arial Nova" panose="020B0504020202020204" pitchFamily="34" charset="0"/>
                <a:ea typeface="+mj-ea"/>
                <a:cs typeface="+mj-cs"/>
              </a:defRPr>
            </a:lvl1pPr>
          </a:lstStyle>
          <a:p>
            <a:r>
              <a:rPr lang="ru-RU" sz="2400" b="0" dirty="0" smtClean="0">
                <a:latin typeface="+mn-lt"/>
              </a:rPr>
              <a:t>Газ на стеклокерамике: ассортимент, </a:t>
            </a:r>
            <a:r>
              <a:rPr lang="en-US" sz="2400" b="0" dirty="0" smtClean="0">
                <a:latin typeface="+mn-lt"/>
              </a:rPr>
              <a:t>SAP </a:t>
            </a:r>
            <a:r>
              <a:rPr lang="ru-RU" sz="2400" b="0" dirty="0" smtClean="0">
                <a:latin typeface="+mn-lt"/>
              </a:rPr>
              <a:t>номера,</a:t>
            </a:r>
            <a:r>
              <a:rPr lang="en-US" sz="2400" b="0" dirty="0" smtClean="0">
                <a:latin typeface="+mn-lt"/>
              </a:rPr>
              <a:t> </a:t>
            </a:r>
            <a:r>
              <a:rPr lang="ru-RU" sz="2400" b="0" dirty="0" smtClean="0">
                <a:latin typeface="+mn-lt"/>
              </a:rPr>
              <a:t>дата начала продаж, РРЦ</a:t>
            </a:r>
            <a:endParaRPr lang="en-GB" b="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3065268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D4DD3039-A7D6-4557-AE5E-BA0D3A96E56B}"/>
              </a:ext>
            </a:extLst>
          </p:cNvPr>
          <p:cNvSpPr txBox="1">
            <a:spLocks/>
          </p:cNvSpPr>
          <p:nvPr/>
        </p:nvSpPr>
        <p:spPr>
          <a:xfrm>
            <a:off x="7214556" y="2918146"/>
            <a:ext cx="2968536" cy="957663"/>
          </a:xfrm>
          <a:prstGeom prst="rect">
            <a:avLst/>
          </a:prstGeom>
        </p:spPr>
        <p:txBody>
          <a:bodyPr>
            <a:normAutofit/>
          </a:bodyPr>
          <a:lstStyle>
            <a:lvl1pPr marL="182563" indent="-182563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 Nova Light" panose="020B0304020202020204" pitchFamily="34" charset="0"/>
                <a:ea typeface="+mn-ea"/>
                <a:cs typeface="+mn-cs"/>
              </a:defRPr>
            </a:lvl1pPr>
            <a:lvl2pPr marL="357188" indent="-17462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Arial Nova Light" panose="020B0304020202020204" pitchFamily="34" charset="0"/>
                <a:ea typeface="+mn-ea"/>
                <a:cs typeface="+mn-cs"/>
              </a:defRPr>
            </a:lvl2pPr>
            <a:lvl3pPr marL="539750" indent="-182563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Arial Nova Light" panose="020B0304020202020204" pitchFamily="34" charset="0"/>
                <a:ea typeface="+mn-ea"/>
                <a:cs typeface="+mn-cs"/>
              </a:defRPr>
            </a:lvl3pPr>
            <a:lvl4pPr marL="714375" indent="-174625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Arial Nova Light" panose="020B0304020202020204" pitchFamily="34" charset="0"/>
                <a:ea typeface="+mn-ea"/>
                <a:cs typeface="+mn-cs"/>
              </a:defRPr>
            </a:lvl4pPr>
            <a:lvl5pPr marL="896938" indent="-182563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chemeClr val="tx1"/>
                </a:solidFill>
                <a:latin typeface="Arial Nova Light" panose="020B0304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3600" dirty="0" smtClean="0">
                <a:latin typeface="+mn-lt"/>
              </a:rPr>
              <a:t>Спасибо!</a:t>
            </a:r>
            <a:endParaRPr lang="nl-NL" sz="3600" dirty="0">
              <a:latin typeface="+mn-lt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185" y="964465"/>
            <a:ext cx="5207733" cy="5207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45536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0875DD-1AB5-4D85-9270-FE2F53B0DA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4765" y="415332"/>
            <a:ext cx="9657805" cy="1105988"/>
          </a:xfrm>
        </p:spPr>
        <p:txBody>
          <a:bodyPr/>
          <a:lstStyle/>
          <a:p>
            <a:r>
              <a:rPr lang="ru-RU" dirty="0" smtClean="0">
                <a:latin typeface="+mn-lt"/>
              </a:rPr>
              <a:t>Обновления:</a:t>
            </a:r>
            <a:endParaRPr lang="nl-NL" dirty="0">
              <a:latin typeface="+mn-lt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DD3039-A7D6-4557-AE5E-BA0D3A96E56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4764" y="2928537"/>
            <a:ext cx="5722127" cy="1799137"/>
          </a:xfrm>
        </p:spPr>
        <p:txBody>
          <a:bodyPr>
            <a:normAutofit/>
          </a:bodyPr>
          <a:lstStyle/>
          <a:p>
            <a:pPr>
              <a:buFontTx/>
              <a:buChar char="-"/>
            </a:pPr>
            <a:r>
              <a:rPr lang="ru-RU" dirty="0" smtClean="0">
                <a:latin typeface="+mn-lt"/>
              </a:rPr>
              <a:t>Новое полностью черное </a:t>
            </a:r>
            <a:r>
              <a:rPr lang="ru-RU" dirty="0">
                <a:latin typeface="+mn-lt"/>
              </a:rPr>
              <a:t>стеклокерамическое </a:t>
            </a:r>
            <a:r>
              <a:rPr lang="ru-RU" dirty="0" smtClean="0">
                <a:latin typeface="+mn-lt"/>
              </a:rPr>
              <a:t>основание</a:t>
            </a:r>
            <a:r>
              <a:rPr lang="en-US" dirty="0" smtClean="0">
                <a:latin typeface="+mn-lt"/>
              </a:rPr>
              <a:t> </a:t>
            </a:r>
            <a:r>
              <a:rPr lang="ru-RU" dirty="0" smtClean="0">
                <a:latin typeface="+mn-lt"/>
              </a:rPr>
              <a:t>(без рисунка «в точку»)</a:t>
            </a:r>
            <a:endParaRPr lang="en-US" dirty="0" smtClean="0">
              <a:latin typeface="+mn-lt"/>
            </a:endParaRPr>
          </a:p>
          <a:p>
            <a:pPr>
              <a:buFontTx/>
              <a:buChar char="-"/>
            </a:pPr>
            <a:r>
              <a:rPr lang="ru-RU" dirty="0" smtClean="0">
                <a:latin typeface="+mn-lt"/>
              </a:rPr>
              <a:t>Боковые рамки нового типа</a:t>
            </a:r>
            <a:endParaRPr lang="nl-NL" dirty="0">
              <a:latin typeface="+mn-lt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98228" y="1375850"/>
            <a:ext cx="4904510" cy="49045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06609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sz="3800" dirty="0">
                <a:latin typeface="+mn-lt"/>
              </a:rPr>
              <a:t>Новое полностью черное стеклокерамическое основание</a:t>
            </a:r>
            <a:r>
              <a:rPr lang="en-US" sz="3800" dirty="0">
                <a:latin typeface="+mn-lt"/>
              </a:rPr>
              <a:t> </a:t>
            </a:r>
            <a:r>
              <a:rPr lang="ru-RU" sz="3800" dirty="0">
                <a:latin typeface="+mn-lt"/>
              </a:rPr>
              <a:t>(без рисунка «в точку</a:t>
            </a:r>
            <a:r>
              <a:rPr lang="ru-RU" sz="3800" dirty="0" smtClean="0">
                <a:latin typeface="+mn-lt"/>
              </a:rPr>
              <a:t>»)</a:t>
            </a:r>
            <a:endParaRPr lang="ru-RU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9910" y="1683327"/>
            <a:ext cx="6982647" cy="45963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07132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>
                <a:latin typeface="+mn-lt"/>
              </a:rPr>
              <a:t>Боковые рамки нового </a:t>
            </a:r>
            <a:r>
              <a:rPr lang="ru-RU" dirty="0" smtClean="0">
                <a:latin typeface="+mn-lt"/>
              </a:rPr>
              <a:t>типа</a:t>
            </a:r>
            <a:endParaRPr lang="ru-RU" dirty="0">
              <a:latin typeface="+mn-lt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05444" y="1828800"/>
            <a:ext cx="7516091" cy="42278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18100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2400" b="0" dirty="0">
                <a:latin typeface="+mn-lt"/>
              </a:rPr>
              <a:t>Газ на стеклокерамике: ассортимент</a:t>
            </a:r>
          </a:p>
        </p:txBody>
      </p:sp>
      <p:cxnSp>
        <p:nvCxnSpPr>
          <p:cNvPr id="3" name="Straight Connector 35">
            <a:extLst>
              <a:ext uri="{FF2B5EF4-FFF2-40B4-BE49-F238E27FC236}">
                <a16:creationId xmlns:a16="http://schemas.microsoft.com/office/drawing/2014/main" id="{821BED80-D58C-4C18-9D6A-DF3A3FE6A46C}"/>
              </a:ext>
            </a:extLst>
          </p:cNvPr>
          <p:cNvCxnSpPr>
            <a:cxnSpLocks/>
          </p:cNvCxnSpPr>
          <p:nvPr/>
        </p:nvCxnSpPr>
        <p:spPr>
          <a:xfrm>
            <a:off x="418817" y="1497874"/>
            <a:ext cx="11243388" cy="0"/>
          </a:xfrm>
          <a:prstGeom prst="line">
            <a:avLst/>
          </a:prstGeom>
          <a:ln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4" name="Прямоугольник 3"/>
          <p:cNvSpPr/>
          <p:nvPr/>
        </p:nvSpPr>
        <p:spPr>
          <a:xfrm>
            <a:off x="1745680" y="2140532"/>
            <a:ext cx="1884411" cy="228595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33 см</a:t>
            </a:r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3913916" y="2140532"/>
            <a:ext cx="1562100" cy="228595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64 см</a:t>
            </a:r>
            <a:endParaRPr lang="ru-RU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5773890" y="2140532"/>
            <a:ext cx="1928257" cy="228595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80 см</a:t>
            </a:r>
            <a:endParaRPr lang="ru-RU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8005497" y="2140532"/>
            <a:ext cx="2691304" cy="228595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111 см</a:t>
            </a:r>
            <a:endParaRPr lang="ru-RU" dirty="0"/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41241" y="3011782"/>
            <a:ext cx="798586" cy="1269275"/>
          </a:xfrm>
          <a:prstGeom prst="rect">
            <a:avLst/>
          </a:prstGeom>
        </p:spPr>
      </p:pic>
      <p:pic>
        <p:nvPicPr>
          <p:cNvPr id="10" name="Picture 2" descr="https://partners.gorenje.com/piadmin/lib/pi_slika.aspx?id=741473&amp;tipDok=JPG&amp;klas=7113&amp;sifra=741473&amp;size=240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30548" y="3011781"/>
            <a:ext cx="799543" cy="1269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4" descr="https://partners.gorenje.com/piadmin/lib/pi_slika.aspx?id=741475&amp;sifra=741475&amp;tipDok=JPG&amp;klas=7113"/>
          <p:cNvPicPr>
            <a:picLocks noChangeAspect="1" noChangeArrowheads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11906" y="3011782"/>
            <a:ext cx="1564110" cy="1269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73890" y="3011781"/>
            <a:ext cx="1928257" cy="1269275"/>
          </a:xfrm>
          <a:prstGeom prst="rect">
            <a:avLst/>
          </a:prstGeom>
        </p:spPr>
      </p:pic>
      <p:pic>
        <p:nvPicPr>
          <p:cNvPr id="13" name="Picture 2" descr="https://partners.gorenje.com/piadmin/lib/pi_slika.aspx?id=741474&amp;sifra=741474&amp;tipDok=JPG&amp;klas=7113"/>
          <p:cNvPicPr>
            <a:picLocks noChangeAspect="1" noChangeArrowheads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05497" y="3011781"/>
            <a:ext cx="2691304" cy="9971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Прямоугольник 13"/>
          <p:cNvSpPr/>
          <p:nvPr/>
        </p:nvSpPr>
        <p:spPr>
          <a:xfrm>
            <a:off x="1557682" y="4281056"/>
            <a:ext cx="116570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solidFill>
                  <a:srgbClr val="000000"/>
                </a:solidFill>
              </a:rPr>
              <a:t>HG8320BGB1</a:t>
            </a:r>
            <a:endParaRPr lang="ru-RU" sz="1200" dirty="0"/>
          </a:p>
        </p:txBody>
      </p:sp>
      <p:sp>
        <p:nvSpPr>
          <p:cNvPr id="15" name="Прямоугольник 14"/>
          <p:cNvSpPr/>
          <p:nvPr/>
        </p:nvSpPr>
        <p:spPr>
          <a:xfrm>
            <a:off x="2647467" y="4281055"/>
            <a:ext cx="116570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solidFill>
                  <a:srgbClr val="000000"/>
                </a:solidFill>
              </a:rPr>
              <a:t>HG8313BGB1</a:t>
            </a:r>
            <a:endParaRPr lang="ru-RU" sz="1200" dirty="0"/>
          </a:p>
        </p:txBody>
      </p:sp>
      <p:sp>
        <p:nvSpPr>
          <p:cNvPr id="16" name="Прямоугольник 15"/>
          <p:cNvSpPr/>
          <p:nvPr/>
        </p:nvSpPr>
        <p:spPr>
          <a:xfrm>
            <a:off x="4108684" y="4281054"/>
            <a:ext cx="116570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solidFill>
                  <a:srgbClr val="000000"/>
                </a:solidFill>
              </a:rPr>
              <a:t>HG8640BGB1</a:t>
            </a:r>
            <a:endParaRPr lang="ru-RU" dirty="0"/>
          </a:p>
        </p:txBody>
      </p:sp>
      <p:sp>
        <p:nvSpPr>
          <p:cNvPr id="17" name="Прямоугольник 16"/>
          <p:cNvSpPr/>
          <p:nvPr/>
        </p:nvSpPr>
        <p:spPr>
          <a:xfrm>
            <a:off x="6130605" y="4281054"/>
            <a:ext cx="116570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solidFill>
                  <a:srgbClr val="000000"/>
                </a:solidFill>
              </a:rPr>
              <a:t>HG8843BGB1</a:t>
            </a:r>
            <a:endParaRPr lang="ru-RU" sz="1200" dirty="0"/>
          </a:p>
        </p:txBody>
      </p:sp>
      <p:sp>
        <p:nvSpPr>
          <p:cNvPr id="18" name="Прямоугольник 17"/>
          <p:cNvSpPr/>
          <p:nvPr/>
        </p:nvSpPr>
        <p:spPr>
          <a:xfrm>
            <a:off x="8768297" y="4281054"/>
            <a:ext cx="116570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solidFill>
                  <a:srgbClr val="000000"/>
                </a:solidFill>
              </a:rPr>
              <a:t>HG8144BGB1</a:t>
            </a:r>
            <a:endParaRPr lang="ru-RU" sz="1200" dirty="0"/>
          </a:p>
        </p:txBody>
      </p:sp>
    </p:spTree>
    <p:extLst>
      <p:ext uri="{BB962C8B-B14F-4D97-AF65-F5344CB8AC3E}">
        <p14:creationId xmlns:p14="http://schemas.microsoft.com/office/powerpoint/2010/main" val="31643645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1"/>
          <p:cNvSpPr>
            <a:spLocks noGrp="1"/>
          </p:cNvSpPr>
          <p:nvPr>
            <p:ph type="title"/>
          </p:nvPr>
        </p:nvSpPr>
        <p:spPr>
          <a:xfrm>
            <a:off x="574765" y="391886"/>
            <a:ext cx="9675223" cy="1105988"/>
          </a:xfrm>
        </p:spPr>
        <p:txBody>
          <a:bodyPr>
            <a:normAutofit/>
          </a:bodyPr>
          <a:lstStyle/>
          <a:p>
            <a:r>
              <a:rPr lang="ru-RU" sz="2400" b="0" dirty="0">
                <a:latin typeface="+mn-lt"/>
              </a:rPr>
              <a:t>Газ на стеклокерамике</a:t>
            </a:r>
            <a:r>
              <a:rPr lang="ru-RU" sz="2400" b="0" dirty="0" smtClean="0">
                <a:latin typeface="+mn-lt"/>
              </a:rPr>
              <a:t>: ассортимент</a:t>
            </a:r>
            <a:endParaRPr lang="ru-RU" sz="2400" b="0" dirty="0">
              <a:latin typeface="+mn-lt"/>
            </a:endParaRPr>
          </a:p>
        </p:txBody>
      </p:sp>
      <p:cxnSp>
        <p:nvCxnSpPr>
          <p:cNvPr id="4" name="Straight Connector 35">
            <a:extLst>
              <a:ext uri="{FF2B5EF4-FFF2-40B4-BE49-F238E27FC236}">
                <a16:creationId xmlns:a16="http://schemas.microsoft.com/office/drawing/2014/main" id="{821BED80-D58C-4C18-9D6A-DF3A3FE6A46C}"/>
              </a:ext>
            </a:extLst>
          </p:cNvPr>
          <p:cNvCxnSpPr>
            <a:cxnSpLocks/>
          </p:cNvCxnSpPr>
          <p:nvPr/>
        </p:nvCxnSpPr>
        <p:spPr>
          <a:xfrm>
            <a:off x="418817" y="1497874"/>
            <a:ext cx="11243388" cy="0"/>
          </a:xfrm>
          <a:prstGeom prst="line">
            <a:avLst/>
          </a:prstGeom>
          <a:ln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5" name="TextBox 4"/>
          <p:cNvSpPr txBox="1"/>
          <p:nvPr/>
        </p:nvSpPr>
        <p:spPr>
          <a:xfrm>
            <a:off x="495243" y="1808018"/>
            <a:ext cx="1116696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/>
              <a:t>*</a:t>
            </a:r>
            <a:r>
              <a:rPr lang="ru-RU" sz="1600" dirty="0" smtClean="0"/>
              <a:t>Данные панели будут совместимы с новыми индукционными панелями </a:t>
            </a:r>
            <a:r>
              <a:rPr lang="en-US" sz="1600" dirty="0" err="1"/>
              <a:t>Celsius°Cooking</a:t>
            </a:r>
            <a:r>
              <a:rPr lang="en-US" sz="1600" dirty="0" smtClean="0"/>
              <a:t>™ (</a:t>
            </a:r>
            <a:r>
              <a:rPr lang="ru-RU" sz="1600" dirty="0" smtClean="0"/>
              <a:t>старт продаж Август 2023)</a:t>
            </a:r>
            <a:endParaRPr lang="ru-RU" sz="1600" dirty="0"/>
          </a:p>
        </p:txBody>
      </p:sp>
      <p:sp>
        <p:nvSpPr>
          <p:cNvPr id="8" name="TextBox 7"/>
          <p:cNvSpPr txBox="1"/>
          <p:nvPr/>
        </p:nvSpPr>
        <p:spPr>
          <a:xfrm>
            <a:off x="574765" y="2456715"/>
            <a:ext cx="1116696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/>
              <a:t>Таблица совместимости старых и новых моделей газа на стеклокерамике:</a:t>
            </a:r>
            <a:endParaRPr lang="ru-RU" sz="1600" dirty="0"/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54529491"/>
              </p:ext>
            </p:extLst>
          </p:nvPr>
        </p:nvGraphicFramePr>
        <p:xfrm>
          <a:off x="941461" y="2930684"/>
          <a:ext cx="10198100" cy="3017520"/>
        </p:xfrm>
        <a:graphic>
          <a:graphicData uri="http://schemas.openxmlformats.org/drawingml/2006/table">
            <a:tbl>
              <a:tblPr/>
              <a:tblGrid>
                <a:gridCol w="927100">
                  <a:extLst>
                    <a:ext uri="{9D8B030D-6E8A-4147-A177-3AD203B41FA5}">
                      <a16:colId xmlns:a16="http://schemas.microsoft.com/office/drawing/2014/main" val="725319425"/>
                    </a:ext>
                  </a:extLst>
                </a:gridCol>
                <a:gridCol w="927100">
                  <a:extLst>
                    <a:ext uri="{9D8B030D-6E8A-4147-A177-3AD203B41FA5}">
                      <a16:colId xmlns:a16="http://schemas.microsoft.com/office/drawing/2014/main" val="1760951813"/>
                    </a:ext>
                  </a:extLst>
                </a:gridCol>
                <a:gridCol w="927100">
                  <a:extLst>
                    <a:ext uri="{9D8B030D-6E8A-4147-A177-3AD203B41FA5}">
                      <a16:colId xmlns:a16="http://schemas.microsoft.com/office/drawing/2014/main" val="1103368961"/>
                    </a:ext>
                  </a:extLst>
                </a:gridCol>
                <a:gridCol w="927100">
                  <a:extLst>
                    <a:ext uri="{9D8B030D-6E8A-4147-A177-3AD203B41FA5}">
                      <a16:colId xmlns:a16="http://schemas.microsoft.com/office/drawing/2014/main" val="3578794413"/>
                    </a:ext>
                  </a:extLst>
                </a:gridCol>
                <a:gridCol w="927100">
                  <a:extLst>
                    <a:ext uri="{9D8B030D-6E8A-4147-A177-3AD203B41FA5}">
                      <a16:colId xmlns:a16="http://schemas.microsoft.com/office/drawing/2014/main" val="1438719250"/>
                    </a:ext>
                  </a:extLst>
                </a:gridCol>
                <a:gridCol w="927100">
                  <a:extLst>
                    <a:ext uri="{9D8B030D-6E8A-4147-A177-3AD203B41FA5}">
                      <a16:colId xmlns:a16="http://schemas.microsoft.com/office/drawing/2014/main" val="3106908370"/>
                    </a:ext>
                  </a:extLst>
                </a:gridCol>
                <a:gridCol w="927100">
                  <a:extLst>
                    <a:ext uri="{9D8B030D-6E8A-4147-A177-3AD203B41FA5}">
                      <a16:colId xmlns:a16="http://schemas.microsoft.com/office/drawing/2014/main" val="3802741978"/>
                    </a:ext>
                  </a:extLst>
                </a:gridCol>
                <a:gridCol w="927100">
                  <a:extLst>
                    <a:ext uri="{9D8B030D-6E8A-4147-A177-3AD203B41FA5}">
                      <a16:colId xmlns:a16="http://schemas.microsoft.com/office/drawing/2014/main" val="2485958107"/>
                    </a:ext>
                  </a:extLst>
                </a:gridCol>
                <a:gridCol w="927100">
                  <a:extLst>
                    <a:ext uri="{9D8B030D-6E8A-4147-A177-3AD203B41FA5}">
                      <a16:colId xmlns:a16="http://schemas.microsoft.com/office/drawing/2014/main" val="2739067468"/>
                    </a:ext>
                  </a:extLst>
                </a:gridCol>
                <a:gridCol w="927100">
                  <a:extLst>
                    <a:ext uri="{9D8B030D-6E8A-4147-A177-3AD203B41FA5}">
                      <a16:colId xmlns:a16="http://schemas.microsoft.com/office/drawing/2014/main" val="2708530332"/>
                    </a:ext>
                  </a:extLst>
                </a:gridCol>
                <a:gridCol w="927100">
                  <a:extLst>
                    <a:ext uri="{9D8B030D-6E8A-4147-A177-3AD203B41FA5}">
                      <a16:colId xmlns:a16="http://schemas.microsoft.com/office/drawing/2014/main" val="2583839769"/>
                    </a:ext>
                  </a:extLst>
                </a:gridCol>
              </a:tblGrid>
              <a:tr h="35052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Helvetica LT Std Light" panose="020B0403020202020204" pitchFamily="34" charset="0"/>
                        </a:rPr>
                        <a:t>HG1355GB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Helvetica LT Std Light" panose="020B0403020202020204" pitchFamily="34" charset="0"/>
                        </a:rPr>
                        <a:t>HG1365GB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Helvetica LT Std Light" panose="020B0403020202020204" pitchFamily="34" charset="0"/>
                        </a:rPr>
                        <a:t>HG1615AB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Helvetica LT Std Light" panose="020B0403020202020204" pitchFamily="34" charset="0"/>
                        </a:rPr>
                        <a:t>HG1825AB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Helvetica LT Std Light" panose="020B0403020202020204" pitchFamily="34" charset="0"/>
                        </a:rPr>
                        <a:t>HG1145AB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Helvetica LT Std Light" panose="020B0403020202020204" pitchFamily="34" charset="0"/>
                        </a:rPr>
                        <a:t>HG8320BGB1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Helvetica LT Std Light" panose="020B0403020202020204" pitchFamily="34" charset="0"/>
                        </a:rPr>
                        <a:t>HG8313BGB1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Helvetica LT Std Light" panose="020B0403020202020204" pitchFamily="34" charset="0"/>
                        </a:rPr>
                        <a:t>HG8640BGB1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Helvetica LT Std Light" panose="020B0403020202020204" pitchFamily="34" charset="0"/>
                        </a:rPr>
                        <a:t>HG8843BGB1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Helvetica LT Std Light" panose="020B0403020202020204" pitchFamily="34" charset="0"/>
                        </a:rPr>
                        <a:t>HG8144BGB1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8558749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Helvetica LT Std Light" panose="020B0403020202020204" pitchFamily="34" charset="0"/>
                        </a:rPr>
                        <a:t>HG1355GB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V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V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V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V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53109454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Helvetica LT Std Light" panose="020B0403020202020204" pitchFamily="34" charset="0"/>
                        </a:rPr>
                        <a:t>HG1365GB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V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V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V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V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9550269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Helvetica LT Std Light" panose="020B0403020202020204" pitchFamily="34" charset="0"/>
                        </a:rPr>
                        <a:t>HG1615AB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V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V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V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V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07661684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Helvetica LT Std Light" panose="020B0403020202020204" pitchFamily="34" charset="0"/>
                        </a:rPr>
                        <a:t>HG1825AB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V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V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V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V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53293435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Helvetica LT Std Light" panose="020B0403020202020204" pitchFamily="34" charset="0"/>
                        </a:rPr>
                        <a:t>HG1145AB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V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V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V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V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1170861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Helvetica LT Std Light" panose="020B0403020202020204" pitchFamily="34" charset="0"/>
                        </a:rPr>
                        <a:t>HG8320BGB1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V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V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V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V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56156529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Helvetica LT Std Light" panose="020B0403020202020204" pitchFamily="34" charset="0"/>
                        </a:rPr>
                        <a:t>HG8313BGB1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V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V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V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V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63046981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Helvetica LT Std Light" panose="020B0403020202020204" pitchFamily="34" charset="0"/>
                        </a:rPr>
                        <a:t>HG8640BGB1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V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V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V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V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64098812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Helvetica LT Std Light" panose="020B0403020202020204" pitchFamily="34" charset="0"/>
                        </a:rPr>
                        <a:t>HG8843BGB1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V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V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V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V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07823670"/>
                  </a:ext>
                </a:extLst>
              </a:tr>
              <a:tr h="35052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Helvetica LT Std Light" panose="020B0403020202020204" pitchFamily="34" charset="0"/>
                        </a:rPr>
                        <a:t>HG8144BGB1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>
                          <a:solidFill>
                            <a:srgbClr val="FF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V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V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V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V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B05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8138375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3582179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73429" y="141372"/>
            <a:ext cx="10003180" cy="1105988"/>
          </a:xfrm>
        </p:spPr>
        <p:txBody>
          <a:bodyPr>
            <a:normAutofit/>
          </a:bodyPr>
          <a:lstStyle/>
          <a:p>
            <a:pPr>
              <a:lnSpc>
                <a:spcPct val="100000"/>
              </a:lnSpc>
            </a:pPr>
            <a:r>
              <a:rPr lang="en-US" sz="3200" b="0" dirty="0" smtClean="0">
                <a:solidFill>
                  <a:srgbClr val="000000"/>
                </a:solidFill>
                <a:latin typeface="+mn-lt"/>
              </a:rPr>
              <a:t>HG8320BGB1 - </a:t>
            </a:r>
            <a:r>
              <a:rPr lang="ru-RU" sz="3200" b="0" dirty="0">
                <a:solidFill>
                  <a:srgbClr val="000000"/>
                </a:solidFill>
                <a:latin typeface="+mn-lt"/>
              </a:rPr>
              <a:t>Газовая варочная панель, </a:t>
            </a:r>
            <a:r>
              <a:rPr lang="en-US" sz="3200" b="0" dirty="0" smtClean="0">
                <a:solidFill>
                  <a:srgbClr val="000000"/>
                </a:solidFill>
                <a:latin typeface="+mn-lt"/>
              </a:rPr>
              <a:t>DOMINO</a:t>
            </a:r>
            <a:r>
              <a:rPr lang="ru-RU" sz="3200" b="0" dirty="0" smtClean="0">
                <a:solidFill>
                  <a:srgbClr val="000000"/>
                </a:solidFill>
                <a:latin typeface="+mn-lt"/>
              </a:rPr>
              <a:t>, стеклокерамика</a:t>
            </a:r>
            <a:endParaRPr lang="ru-RU" sz="3000" dirty="0">
              <a:latin typeface="+mn-lt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706495" y="5625530"/>
            <a:ext cx="472059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smtClean="0"/>
              <a:t>Цвет: черный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SAP </a:t>
            </a:r>
            <a:r>
              <a:rPr lang="ru-RU" sz="1600" dirty="0"/>
              <a:t>код: </a:t>
            </a:r>
            <a:r>
              <a:rPr lang="ru-RU" sz="1600" dirty="0">
                <a:solidFill>
                  <a:srgbClr val="000000"/>
                </a:solidFill>
                <a:latin typeface="Calibri" panose="020F0502020204030204" pitchFamily="34" charset="0"/>
              </a:rPr>
              <a:t>741472</a:t>
            </a:r>
            <a:endParaRPr lang="ru-RU" sz="1600" dirty="0"/>
          </a:p>
        </p:txBody>
      </p:sp>
      <p:sp>
        <p:nvSpPr>
          <p:cNvPr id="6" name="TextBox 5"/>
          <p:cNvSpPr txBox="1"/>
          <p:nvPr/>
        </p:nvSpPr>
        <p:spPr>
          <a:xfrm>
            <a:off x="5275019" y="2603932"/>
            <a:ext cx="6151418" cy="23391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ru-RU" sz="1600" dirty="0" smtClean="0"/>
              <a:t>Ширина: 33 см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ru-RU" sz="1600" dirty="0" smtClean="0"/>
              <a:t>Новый тип рамки из нержавеющей стали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ru-RU" sz="1600" dirty="0" smtClean="0"/>
              <a:t>2 конфорки А+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ru-RU" sz="1600" dirty="0" smtClean="0"/>
              <a:t>Стеклокерамическое основание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smtClean="0"/>
              <a:t>Конфорки из материала</a:t>
            </a:r>
            <a:r>
              <a:rPr lang="en-US" sz="1600" dirty="0" smtClean="0"/>
              <a:t> </a:t>
            </a:r>
            <a:r>
              <a:rPr lang="en-US" dirty="0" err="1" smtClean="0"/>
              <a:t>Keradur</a:t>
            </a:r>
            <a:r>
              <a:rPr lang="ru-RU" dirty="0" smtClean="0"/>
              <a:t>™</a:t>
            </a: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smtClean="0"/>
              <a:t>Раздельные чугунные решетки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err="1" smtClean="0"/>
              <a:t>Автоподжиг</a:t>
            </a:r>
            <a:endParaRPr lang="ru-RU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smtClean="0"/>
              <a:t>Газ контроль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smtClean="0"/>
              <a:t>Съемные металлические ручки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16380" y="1362792"/>
            <a:ext cx="2301240" cy="3657600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5275019" y="1247360"/>
            <a:ext cx="6096000" cy="954107"/>
          </a:xfrm>
          <a:prstGeom prst="rect">
            <a:avLst/>
          </a:prstGeom>
        </p:spPr>
        <p:txBody>
          <a:bodyPr>
            <a:spAutoFit/>
          </a:bodyPr>
          <a:lstStyle/>
          <a:p>
            <a:pPr algn="just"/>
            <a:r>
              <a:rPr lang="ru-RU" sz="1400" dirty="0"/>
              <a:t>Газовая варочная панель </a:t>
            </a:r>
            <a:r>
              <a:rPr lang="ru-RU" sz="1400" dirty="0" err="1"/>
              <a:t>Domino</a:t>
            </a:r>
            <a:r>
              <a:rPr lang="ru-RU" sz="1400" dirty="0"/>
              <a:t> на стеклокерамическом основании оснащена двумя мощными конфорками A+. Варочная панель имеет плавную и быструю регулировку, благодаря которой вы всегда установите необходимую мощность для разных видов приготовления. </a:t>
            </a:r>
          </a:p>
        </p:txBody>
      </p:sp>
    </p:spTree>
    <p:extLst>
      <p:ext uri="{BB962C8B-B14F-4D97-AF65-F5344CB8AC3E}">
        <p14:creationId xmlns:p14="http://schemas.microsoft.com/office/powerpoint/2010/main" val="31025671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73429" y="141372"/>
            <a:ext cx="10003180" cy="1105988"/>
          </a:xfrm>
        </p:spPr>
        <p:txBody>
          <a:bodyPr>
            <a:normAutofit/>
          </a:bodyPr>
          <a:lstStyle/>
          <a:p>
            <a:pPr>
              <a:lnSpc>
                <a:spcPct val="100000"/>
              </a:lnSpc>
            </a:pPr>
            <a:r>
              <a:rPr lang="en-US" sz="3200" b="0" dirty="0">
                <a:solidFill>
                  <a:srgbClr val="000000"/>
                </a:solidFill>
                <a:latin typeface="+mn-lt"/>
              </a:rPr>
              <a:t>HG8313BGB1</a:t>
            </a:r>
            <a:r>
              <a:rPr lang="en-US" sz="3200" b="0" dirty="0" smtClean="0">
                <a:solidFill>
                  <a:srgbClr val="000000"/>
                </a:solidFill>
                <a:latin typeface="+mn-lt"/>
              </a:rPr>
              <a:t> - </a:t>
            </a:r>
            <a:r>
              <a:rPr lang="ru-RU" sz="3200" b="0" dirty="0">
                <a:solidFill>
                  <a:srgbClr val="000000"/>
                </a:solidFill>
                <a:latin typeface="+mn-lt"/>
              </a:rPr>
              <a:t>Газовая </a:t>
            </a:r>
            <a:r>
              <a:rPr lang="ru-RU" sz="3200" b="0" dirty="0" err="1" smtClean="0">
                <a:solidFill>
                  <a:srgbClr val="000000"/>
                </a:solidFill>
                <a:latin typeface="+mn-lt"/>
              </a:rPr>
              <a:t>вок</a:t>
            </a:r>
            <a:r>
              <a:rPr lang="ru-RU" sz="3200" b="0" dirty="0" smtClean="0">
                <a:solidFill>
                  <a:srgbClr val="000000"/>
                </a:solidFill>
                <a:latin typeface="+mn-lt"/>
              </a:rPr>
              <a:t> </a:t>
            </a:r>
            <a:r>
              <a:rPr lang="ru-RU" sz="3200" b="0" dirty="0">
                <a:solidFill>
                  <a:srgbClr val="000000"/>
                </a:solidFill>
                <a:latin typeface="+mn-lt"/>
              </a:rPr>
              <a:t>панель, </a:t>
            </a:r>
            <a:r>
              <a:rPr lang="en-US" sz="3200" b="0" dirty="0" smtClean="0">
                <a:solidFill>
                  <a:srgbClr val="000000"/>
                </a:solidFill>
                <a:latin typeface="+mn-lt"/>
              </a:rPr>
              <a:t>DOMINO</a:t>
            </a:r>
            <a:r>
              <a:rPr lang="ru-RU" sz="3200" b="0" dirty="0" smtClean="0">
                <a:solidFill>
                  <a:srgbClr val="000000"/>
                </a:solidFill>
                <a:latin typeface="+mn-lt"/>
              </a:rPr>
              <a:t>, стеклокерамика</a:t>
            </a:r>
            <a:endParaRPr lang="ru-RU" sz="3000" dirty="0">
              <a:latin typeface="+mn-lt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706495" y="5625530"/>
            <a:ext cx="472059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/>
              <a:t>Цвет: черный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SAP </a:t>
            </a:r>
            <a:r>
              <a:rPr lang="ru-RU" sz="1600" dirty="0"/>
              <a:t>код: </a:t>
            </a:r>
            <a:r>
              <a:rPr lang="ru-RU" sz="1600" dirty="0">
                <a:solidFill>
                  <a:srgbClr val="000000"/>
                </a:solidFill>
                <a:latin typeface="Calibri" panose="020F0502020204030204" pitchFamily="34" charset="0"/>
              </a:rPr>
              <a:t>741473</a:t>
            </a:r>
            <a:endParaRPr lang="ru-RU" sz="1600" dirty="0"/>
          </a:p>
        </p:txBody>
      </p:sp>
      <p:sp>
        <p:nvSpPr>
          <p:cNvPr id="6" name="TextBox 5"/>
          <p:cNvSpPr txBox="1"/>
          <p:nvPr/>
        </p:nvSpPr>
        <p:spPr>
          <a:xfrm>
            <a:off x="5302728" y="2573398"/>
            <a:ext cx="6151418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ru-RU" sz="1600" dirty="0" smtClean="0"/>
              <a:t>Ширина: 33 см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/>
              <a:t>Новый тип рамки из нержавеющей стали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ru-RU" sz="1600" dirty="0" smtClean="0"/>
              <a:t>Конфорка </a:t>
            </a:r>
            <a:r>
              <a:rPr lang="ru-RU" sz="1600" dirty="0" err="1" smtClean="0"/>
              <a:t>вок</a:t>
            </a:r>
            <a:r>
              <a:rPr lang="en-US" sz="1600" dirty="0" smtClean="0"/>
              <a:t> </a:t>
            </a:r>
            <a:r>
              <a:rPr lang="en-US" sz="1600" dirty="0"/>
              <a:t>F</a:t>
            </a:r>
            <a:r>
              <a:rPr lang="en-US" sz="1600" dirty="0" smtClean="0"/>
              <a:t>usion V</a:t>
            </a:r>
            <a:r>
              <a:rPr lang="en-US" sz="1600" dirty="0"/>
              <a:t>o</a:t>
            </a:r>
            <a:r>
              <a:rPr lang="en-US" sz="1600" dirty="0" smtClean="0"/>
              <a:t>lcano, 6</a:t>
            </a:r>
            <a:r>
              <a:rPr lang="ru-RU" sz="1600" dirty="0" smtClean="0"/>
              <a:t>кВт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ru-RU" sz="1600" dirty="0" smtClean="0"/>
              <a:t>Стеклокерамическое основание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smtClean="0"/>
              <a:t>Конфорка </a:t>
            </a:r>
            <a:r>
              <a:rPr lang="ru-RU" sz="1600" dirty="0"/>
              <a:t>из материала</a:t>
            </a:r>
            <a:r>
              <a:rPr lang="en-US" sz="1600" dirty="0"/>
              <a:t> </a:t>
            </a:r>
            <a:r>
              <a:rPr lang="en-US" sz="1600" dirty="0" err="1" smtClean="0"/>
              <a:t>Keradur</a:t>
            </a:r>
            <a:r>
              <a:rPr lang="ru-RU" sz="1600" dirty="0" smtClean="0"/>
              <a:t>™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smtClean="0"/>
              <a:t>Чугунная решетка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err="1" smtClean="0"/>
              <a:t>Автоподжиг</a:t>
            </a:r>
            <a:endParaRPr lang="ru-RU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smtClean="0"/>
              <a:t>Газ контроль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smtClean="0"/>
              <a:t>Съемная металлическая ручка</a:t>
            </a:r>
          </a:p>
        </p:txBody>
      </p:sp>
      <p:pic>
        <p:nvPicPr>
          <p:cNvPr id="3074" name="Picture 2" descr="https://partners.gorenje.com/piadmin/lib/pi_slika.aspx?id=741473&amp;tipDok=JPG&amp;klas=7113&amp;sifra=741473&amp;size=240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3655" y="1441105"/>
            <a:ext cx="2286000" cy="3629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5302728" y="1371770"/>
            <a:ext cx="6096000" cy="954107"/>
          </a:xfrm>
          <a:prstGeom prst="rect">
            <a:avLst/>
          </a:prstGeom>
        </p:spPr>
        <p:txBody>
          <a:bodyPr>
            <a:spAutoFit/>
          </a:bodyPr>
          <a:lstStyle/>
          <a:p>
            <a:pPr algn="just"/>
            <a:r>
              <a:rPr lang="ru-RU" sz="1400" dirty="0"/>
              <a:t>Газовая варочная панель </a:t>
            </a:r>
            <a:r>
              <a:rPr lang="ru-RU" sz="1400" dirty="0" err="1"/>
              <a:t>Domino</a:t>
            </a:r>
            <a:r>
              <a:rPr lang="ru-RU" sz="1400" dirty="0"/>
              <a:t> на стеклокерамическом основании со сверхмощной конфоркой </a:t>
            </a:r>
            <a:r>
              <a:rPr lang="ru-RU" sz="1400" dirty="0" err="1"/>
              <a:t>Fusion</a:t>
            </a:r>
            <a:r>
              <a:rPr lang="ru-RU" sz="1400" dirty="0"/>
              <a:t> </a:t>
            </a:r>
            <a:r>
              <a:rPr lang="ru-RU" sz="1400" dirty="0" err="1"/>
              <a:t>Volcano</a:t>
            </a:r>
            <a:r>
              <a:rPr lang="ru-RU" sz="1400" dirty="0"/>
              <a:t> </a:t>
            </a:r>
            <a:r>
              <a:rPr lang="ru-RU" sz="1400" dirty="0" err="1"/>
              <a:t>Wok</a:t>
            </a:r>
            <a:r>
              <a:rPr lang="ru-RU" sz="1400" dirty="0"/>
              <a:t>™, которая фокусирует пламя в центре дна сковороды. Теперь настоящий </a:t>
            </a:r>
            <a:r>
              <a:rPr lang="ru-RU" sz="1400" dirty="0" err="1"/>
              <a:t>Wok</a:t>
            </a:r>
            <a:r>
              <a:rPr lang="ru-RU" sz="1400" dirty="0"/>
              <a:t> на вашей собственной кухне! </a:t>
            </a:r>
          </a:p>
        </p:txBody>
      </p:sp>
    </p:spTree>
    <p:extLst>
      <p:ext uri="{BB962C8B-B14F-4D97-AF65-F5344CB8AC3E}">
        <p14:creationId xmlns:p14="http://schemas.microsoft.com/office/powerpoint/2010/main" val="18356400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73429" y="141372"/>
            <a:ext cx="10003180" cy="1105988"/>
          </a:xfrm>
        </p:spPr>
        <p:txBody>
          <a:bodyPr>
            <a:normAutofit/>
          </a:bodyPr>
          <a:lstStyle/>
          <a:p>
            <a:pPr>
              <a:lnSpc>
                <a:spcPct val="100000"/>
              </a:lnSpc>
            </a:pPr>
            <a:r>
              <a:rPr lang="en-US" sz="3200" b="0" dirty="0">
                <a:solidFill>
                  <a:srgbClr val="000000"/>
                </a:solidFill>
                <a:latin typeface="+mn-lt"/>
              </a:rPr>
              <a:t>HG8640BGB1</a:t>
            </a:r>
            <a:r>
              <a:rPr lang="en-US" sz="3200" b="0" dirty="0" smtClean="0">
                <a:solidFill>
                  <a:srgbClr val="000000"/>
                </a:solidFill>
                <a:latin typeface="+mn-lt"/>
              </a:rPr>
              <a:t> - </a:t>
            </a:r>
            <a:r>
              <a:rPr lang="ru-RU" sz="3200" b="0" dirty="0">
                <a:solidFill>
                  <a:srgbClr val="000000"/>
                </a:solidFill>
                <a:latin typeface="+mn-lt"/>
              </a:rPr>
              <a:t>Газовая варочная панель, стеклокерамика, 64 см</a:t>
            </a:r>
            <a:endParaRPr lang="ru-RU" sz="3000" dirty="0">
              <a:latin typeface="+mn-lt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706495" y="5625530"/>
            <a:ext cx="472059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/>
              <a:t>Цвет: черный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smtClean="0"/>
              <a:t>SAP </a:t>
            </a:r>
            <a:r>
              <a:rPr lang="ru-RU" sz="1600" dirty="0"/>
              <a:t>код: </a:t>
            </a:r>
            <a:r>
              <a:rPr lang="ru-RU" sz="16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741475</a:t>
            </a:r>
            <a:endParaRPr lang="ru-RU" sz="1600" dirty="0"/>
          </a:p>
        </p:txBody>
      </p:sp>
      <p:sp>
        <p:nvSpPr>
          <p:cNvPr id="6" name="TextBox 5"/>
          <p:cNvSpPr txBox="1"/>
          <p:nvPr/>
        </p:nvSpPr>
        <p:spPr>
          <a:xfrm>
            <a:off x="5275019" y="1706005"/>
            <a:ext cx="615141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400" dirty="0"/>
              <a:t>Газовая варочная панель на стеклокерамическом основании с четырьмя мощными конфорками A+. Варочная панель имеет плавную и быструю регулировку, благодаря которой вы всегда установите необходимую мощность для разных видов приготовления. </a:t>
            </a:r>
            <a:endParaRPr lang="en-US" sz="1400" dirty="0"/>
          </a:p>
        </p:txBody>
      </p:sp>
      <p:sp>
        <p:nvSpPr>
          <p:cNvPr id="5" name="TextBox 4"/>
          <p:cNvSpPr txBox="1"/>
          <p:nvPr/>
        </p:nvSpPr>
        <p:spPr>
          <a:xfrm>
            <a:off x="5427085" y="2878608"/>
            <a:ext cx="6151418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ru-RU" sz="1600" dirty="0" smtClean="0"/>
              <a:t>Ширина: 64 см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/>
              <a:t>Новый тип рамки из нержавеющей стали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ru-RU" sz="1600" dirty="0" smtClean="0"/>
              <a:t>Стеклокерамическое основание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smtClean="0"/>
              <a:t>Конфорки из материала </a:t>
            </a:r>
            <a:r>
              <a:rPr lang="en-US" sz="1600" dirty="0" err="1" smtClean="0"/>
              <a:t>Keradur</a:t>
            </a:r>
            <a:r>
              <a:rPr lang="ru-RU" sz="1600" dirty="0" smtClean="0"/>
              <a:t>™</a:t>
            </a:r>
            <a:endParaRPr lang="en-US" sz="1600" dirty="0" smtClean="0"/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ru-RU" sz="1600" dirty="0" smtClean="0"/>
              <a:t>Раздельные чугунные решетки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ru-RU" sz="1600" dirty="0" err="1" smtClean="0"/>
              <a:t>Автоподжиг</a:t>
            </a:r>
            <a:endParaRPr lang="ru-RU" sz="1600" dirty="0" smtClean="0"/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ru-RU" sz="1600" dirty="0" smtClean="0"/>
              <a:t>Газ контроль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ru-RU" sz="1600" dirty="0" smtClean="0"/>
              <a:t>Съемные металлические ручки</a:t>
            </a:r>
            <a:endParaRPr lang="en-US" sz="1600" dirty="0" smtClean="0"/>
          </a:p>
        </p:txBody>
      </p:sp>
      <p:pic>
        <p:nvPicPr>
          <p:cNvPr id="4100" name="Picture 4" descr="https://partners.gorenje.com/piadmin/lib/pi_slika.aspx?id=741475&amp;sifra=741475&amp;tipDok=JPG&amp;klas=7113"/>
          <p:cNvPicPr>
            <a:picLocks noChangeAspect="1" noChangeArrowheads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4314" y="1778290"/>
            <a:ext cx="3799717" cy="30834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245948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SKO">
      <a:majorFont>
        <a:latin typeface="Helvetica"/>
        <a:ea typeface=""/>
        <a:cs typeface=""/>
      </a:majorFont>
      <a:minorFont>
        <a:latin typeface="Helvetica LT Std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sz="1600" dirty="0">
            <a:latin typeface="Arial Nova Light" panose="020B03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ASKO Appliances TEMPLATE 2020-05-13 Print 220 ppi.pptx" id="{A8A7EF57-C99E-4953-A290-74C7F6B83204}" vid="{901D27CB-A801-44DA-9FCF-347FE3C9A431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11BADEBB9FBAF429F99CD4A1C3CAD0E" ma:contentTypeVersion="11" ma:contentTypeDescription="Create a new document." ma:contentTypeScope="" ma:versionID="6b8aa2e6f5af702e436d962bbc9b33ad">
  <xsd:schema xmlns:xsd="http://www.w3.org/2001/XMLSchema" xmlns:xs="http://www.w3.org/2001/XMLSchema" xmlns:p="http://schemas.microsoft.com/office/2006/metadata/properties" xmlns:ns2="3976dcfd-8b49-4b06-a581-e998a617c5e3" targetNamespace="http://schemas.microsoft.com/office/2006/metadata/properties" ma:root="true" ma:fieldsID="eb2b65503237d329f7da917cbd98a190" ns2:_="">
    <xsd:import namespace="3976dcfd-8b49-4b06-a581-e998a617c5e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2:MediaServiceOCR" minOccurs="0"/>
                <xsd:element ref="ns2:MediaLengthInSeconds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976dcfd-8b49-4b06-a581-e998a617c5e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4" nillable="true" ma:displayName="Location" ma:internalName="MediaServiceLocation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LengthInSeconds" ma:index="16" nillable="true" ma:displayName="MediaLengthInSeconds" ma:hidden="true" ma:internalName="MediaLengthInSeconds" ma:readOnly="true">
      <xsd:simpleType>
        <xsd:restriction base="dms:Unknown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2336243D-0593-4BF3-A449-FAA2A262716D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CCFBC270-9E8D-4FE8-BEF8-6617B44FBBD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976dcfd-8b49-4b06-a581-e998a617c5e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7D7DF72F-DC41-4CEC-A8F8-1632AD03E2F7}">
  <ds:schemaRefs>
    <ds:schemaRef ds:uri="http://purl.org/dc/elements/1.1/"/>
    <ds:schemaRef ds:uri="http://schemas.microsoft.com/office/2006/metadata/properties"/>
    <ds:schemaRef ds:uri="3976dcfd-8b49-4b06-a581-e998a617c5e3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SKO Appliances TEMPLATE 2020-05-13 Print 220 ppi</Template>
  <TotalTime>36158</TotalTime>
  <Words>726</Words>
  <Application>Microsoft Office PowerPoint</Application>
  <PresentationFormat>Широкоэкранный</PresentationFormat>
  <Paragraphs>249</Paragraphs>
  <Slides>13</Slides>
  <Notes>2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3</vt:i4>
      </vt:variant>
    </vt:vector>
  </HeadingPairs>
  <TitlesOfParts>
    <vt:vector size="21" baseType="lpstr">
      <vt:lpstr>-apple-system</vt:lpstr>
      <vt:lpstr>Arial</vt:lpstr>
      <vt:lpstr>Arial Nova</vt:lpstr>
      <vt:lpstr>Arial Nova Light</vt:lpstr>
      <vt:lpstr>Calibri</vt:lpstr>
      <vt:lpstr>Helvetica LT Std Light</vt:lpstr>
      <vt:lpstr>Office Theme</vt:lpstr>
      <vt:lpstr>Слайд think-cell</vt:lpstr>
      <vt:lpstr>Газ на стеклокерамике: обновления</vt:lpstr>
      <vt:lpstr>Обновления:</vt:lpstr>
      <vt:lpstr>Новое полностью черное стеклокерамическое основание (без рисунка «в точку»)</vt:lpstr>
      <vt:lpstr>Боковые рамки нового типа</vt:lpstr>
      <vt:lpstr>Газ на стеклокерамике: ассортимент</vt:lpstr>
      <vt:lpstr>Газ на стеклокерамике: ассортимент</vt:lpstr>
      <vt:lpstr>HG8320BGB1 - Газовая варочная панель, DOMINO, стеклокерамика</vt:lpstr>
      <vt:lpstr>HG8313BGB1 - Газовая вок панель, DOMINO, стеклокерамика</vt:lpstr>
      <vt:lpstr>HG8640BGB1 - Газовая варочная панель, стеклокерамика, 64 см</vt:lpstr>
      <vt:lpstr>HG8843BGB1 - Газовая варочная панель, стеклокерамика, 80 см</vt:lpstr>
      <vt:lpstr>HG8144BGB1 - Газовая варочная панель, стеклокерамика, 111 см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eadline</dc:title>
  <dc:creator>brian.oliveiro@asko.com</dc:creator>
  <cp:lastModifiedBy>Natalja Melyankova</cp:lastModifiedBy>
  <cp:revision>525</cp:revision>
  <cp:lastPrinted>2023-06-29T12:42:24Z</cp:lastPrinted>
  <dcterms:created xsi:type="dcterms:W3CDTF">2021-11-23T12:23:32Z</dcterms:created>
  <dcterms:modified xsi:type="dcterms:W3CDTF">2023-06-29T13:44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11BADEBB9FBAF429F99CD4A1C3CAD0E</vt:lpwstr>
  </property>
</Properties>
</file>